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2.xml" ContentType="application/vnd.openxmlformats-officedocument.presentationml.notesSlide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ppt/tags/tag22.xml" ContentType="application/vnd.openxmlformats-officedocument.presentationml.tags+xml"/>
  <Override PartName="/ppt/notesSlides/notesSlide4.xml" ContentType="application/vnd.openxmlformats-officedocument.presentationml.notesSlide+xml"/>
  <Override PartName="/ppt/tags/tag23.xml" ContentType="application/vnd.openxmlformats-officedocument.presentationml.tags+xml"/>
  <Override PartName="/ppt/notesSlides/notesSlide5.xml" ContentType="application/vnd.openxmlformats-officedocument.presentationml.notesSlide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8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9.xml" ContentType="application/vnd.openxmlformats-officedocument.presentationml.notesSlide+xml"/>
  <Override PartName="/ppt/tags/tag32.xml" ContentType="application/vnd.openxmlformats-officedocument.presentationml.tags+xml"/>
  <Override PartName="/ppt/notesSlides/notesSlide10.xml" ContentType="application/vnd.openxmlformats-officedocument.presentationml.notesSlide+xml"/>
  <Override PartName="/ppt/tags/tag33.xml" ContentType="application/vnd.openxmlformats-officedocument.presentationml.tags+xml"/>
  <Override PartName="/ppt/notesSlides/notesSlide11.xml" ContentType="application/vnd.openxmlformats-officedocument.presentationml.notesSlide+xml"/>
  <Override PartName="/ppt/tags/tag34.xml" ContentType="application/vnd.openxmlformats-officedocument.presentationml.tags+xml"/>
  <Override PartName="/ppt/notesSlides/notesSlide12.xml" ContentType="application/vnd.openxmlformats-officedocument.presentationml.notesSlide+xml"/>
  <Override PartName="/ppt/tags/tag35.xml" ContentType="application/vnd.openxmlformats-officedocument.presentationml.tags+xml"/>
  <Override PartName="/ppt/notesSlides/notesSlide13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59" r:id="rId4"/>
  </p:sldMasterIdLst>
  <p:notesMasterIdLst>
    <p:notesMasterId r:id="rId28"/>
  </p:notesMasterIdLst>
  <p:handoutMasterIdLst>
    <p:handoutMasterId r:id="rId29"/>
  </p:handoutMasterIdLst>
  <p:sldIdLst>
    <p:sldId id="2147480106" r:id="rId5"/>
    <p:sldId id="2147480185" r:id="rId6"/>
    <p:sldId id="2147480186" r:id="rId7"/>
    <p:sldId id="2147480174" r:id="rId8"/>
    <p:sldId id="2147480177" r:id="rId9"/>
    <p:sldId id="2147480149" r:id="rId10"/>
    <p:sldId id="2147480190" r:id="rId11"/>
    <p:sldId id="2147480180" r:id="rId12"/>
    <p:sldId id="2147480196" r:id="rId13"/>
    <p:sldId id="2147480191" r:id="rId14"/>
    <p:sldId id="2147480151" r:id="rId15"/>
    <p:sldId id="2147480152" r:id="rId16"/>
    <p:sldId id="2147480197" r:id="rId17"/>
    <p:sldId id="2147480155" r:id="rId18"/>
    <p:sldId id="2147480156" r:id="rId19"/>
    <p:sldId id="2147480188" r:id="rId20"/>
    <p:sldId id="2147480203" r:id="rId21"/>
    <p:sldId id="2147480187" r:id="rId22"/>
    <p:sldId id="2147480163" r:id="rId23"/>
    <p:sldId id="2147480200" r:id="rId24"/>
    <p:sldId id="2147480201" r:id="rId25"/>
    <p:sldId id="2147480173" r:id="rId26"/>
    <p:sldId id="2147480170" r:id="rId27"/>
  </p:sldIdLst>
  <p:sldSz cx="24382413" cy="13716000"/>
  <p:notesSz cx="6858000" cy="9144000"/>
  <p:custDataLst>
    <p:tags r:id="rId30"/>
  </p:custDataLst>
  <p:defaultTextStyle>
    <a:defPPr>
      <a:defRPr lang="ru-RU"/>
    </a:defPPr>
    <a:lvl1pPr marL="0" algn="l" defTabSz="1828595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1pPr>
    <a:lvl2pPr marL="914298" algn="l" defTabSz="1828595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2pPr>
    <a:lvl3pPr marL="1828595" algn="l" defTabSz="1828595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3pPr>
    <a:lvl4pPr marL="2742893" algn="l" defTabSz="1828595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4pPr>
    <a:lvl5pPr marL="3657189" algn="l" defTabSz="1828595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5pPr>
    <a:lvl6pPr marL="4571485" algn="l" defTabSz="1828595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6pPr>
    <a:lvl7pPr marL="5485784" algn="l" defTabSz="1828595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7pPr>
    <a:lvl8pPr marL="6400080" algn="l" defTabSz="1828595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8pPr>
    <a:lvl9pPr marL="7314378" algn="l" defTabSz="1828595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54AEB28-6440-D730-6E93-FF8C570712B4}" name="Viktor Marchukaites" initials="VM" userId="S::viktor-m@yandex-team.ru::bd4e6783-f6b9-4994-bad6-c4944820f20f" providerId="AD"/>
  <p188:author id="{465F2A3D-5C5A-8715-A357-3C2FB3A0D40A}" name="Anna Volkova" initials="AV" userId="Anna Volkova" providerId="None"/>
  <p188:author id="{C2FFA8DD-EE60-3FB3-54BA-616C1E9A4CB9}" name="Anzhelika Barbashina" initials="AB" userId="Anzhelika Barbashina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Natalia Zhuravlova" initials="" lastIdx="10" clrIdx="0"/>
  <p:cmAuthor id="1" name="tat.gratcheva@live.com" initials="t" lastIdx="83" clrIdx="1"/>
  <p:cmAuthor id="2" name="Yuliya Gerasimova" initials="YG" lastIdx="50" clrIdx="2">
    <p:extLst>
      <p:ext uri="{19B8F6BF-5375-455C-9EA6-DF929625EA0E}">
        <p15:presenceInfo xmlns:p15="http://schemas.microsoft.com/office/powerpoint/2012/main" userId="S::gerasimova-ys@yandex-team.ru::2bca5932-4685-47bb-8dd7-cd995cd51408" providerId="AD"/>
      </p:ext>
    </p:extLst>
  </p:cmAuthor>
  <p:cmAuthor id="3" name="Anastasia An. Petrova" initials="AAP" lastIdx="10" clrIdx="3">
    <p:extLst>
      <p:ext uri="{19B8F6BF-5375-455C-9EA6-DF929625EA0E}">
        <p15:presenceInfo xmlns:p15="http://schemas.microsoft.com/office/powerpoint/2012/main" userId="S::anastasia-pet@yandex-team.ru::bac9e5ac-0821-493c-bba8-88af5d251000" providerId="AD"/>
      </p:ext>
    </p:extLst>
  </p:cmAuthor>
  <p:cmAuthor id="4" name="Maria Pirozhkova" initials="MP" lastIdx="1" clrIdx="4">
    <p:extLst>
      <p:ext uri="{19B8F6BF-5375-455C-9EA6-DF929625EA0E}">
        <p15:presenceInfo xmlns:p15="http://schemas.microsoft.com/office/powerpoint/2012/main" userId="S::mapirozhkova@yandex-team.ru::1c76539e-2d69-4ad8-a82b-d1928f2fa85d" providerId="AD"/>
      </p:ext>
    </p:extLst>
  </p:cmAuthor>
  <p:cmAuthor id="5" name="Maria Kushaeva" initials="MK" lastIdx="2" clrIdx="5">
    <p:extLst>
      <p:ext uri="{19B8F6BF-5375-455C-9EA6-DF929625EA0E}">
        <p15:presenceInfo xmlns:p15="http://schemas.microsoft.com/office/powerpoint/2012/main" userId="S::mkushaeva@yandex-team.ru::41b4b083-dcc9-4d0e-94de-df8a5a198df1" providerId="AD"/>
      </p:ext>
    </p:extLst>
  </p:cmAuthor>
  <p:cmAuthor id="6" name="Anzhelika Barbashina" initials="AB" lastIdx="2" clrIdx="6">
    <p:extLst>
      <p:ext uri="{19B8F6BF-5375-455C-9EA6-DF929625EA0E}">
        <p15:presenceInfo xmlns:p15="http://schemas.microsoft.com/office/powerpoint/2012/main" userId="S::lika-barbash@yandex-team.ru::a0377590-c901-44f8-9741-f4b70d1d527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E9497"/>
    <a:srgbClr val="5E9597"/>
    <a:srgbClr val="292B31"/>
    <a:srgbClr val="50595E"/>
    <a:srgbClr val="FF0101"/>
    <a:srgbClr val="3B3E47"/>
    <a:srgbClr val="1F2127"/>
    <a:srgbClr val="111215"/>
    <a:srgbClr val="F8B600"/>
    <a:srgbClr val="42444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GO">
    <a:wholeTbl>
      <a:tcTxStyle>
        <a:font>
          <a:latin typeface="YS Geo Regular"/>
          <a:ea typeface=""/>
          <a:cs typeface=""/>
        </a:font>
        <a:schemeClr val="dk1"/>
      </a:tcTxStyle>
      <a:tcStyle>
        <a:tcBdr>
          <a:left>
            <a:ln w="0" cmpd="sng">
              <a:solidFill>
                <a:schemeClr val="bg1"/>
              </a:solidFill>
            </a:ln>
          </a:left>
          <a:right>
            <a:ln w="0" cmpd="sng">
              <a:solidFill>
                <a:schemeClr val="bg1"/>
              </a:solidFill>
            </a:ln>
          </a:right>
          <a:top>
            <a:ln w="0" cmpd="sng">
              <a:solidFill>
                <a:schemeClr val="bg1"/>
              </a:solidFill>
            </a:ln>
          </a:top>
          <a:bottom>
            <a:ln w="0" cmpd="sng">
              <a:solidFill>
                <a:schemeClr val="bg1"/>
              </a:solidFill>
            </a:ln>
          </a:bottom>
          <a:insideH>
            <a:ln w="19050" cmpd="sng">
              <a:solidFill>
                <a:srgbClr val="7E8597"/>
              </a:solidFill>
            </a:ln>
          </a:insideH>
          <a:insideV>
            <a:ln w="0" cmpd="sng">
              <a:solidFill>
                <a:schemeClr val="bg1"/>
              </a:solidFill>
            </a:ln>
          </a:insideV>
        </a:tcBdr>
      </a:tcStyle>
    </a:wholeTbl>
    <a:lastRow>
      <a:tcTxStyle>
        <a:font>
          <a:latin typeface="YS Geo Medium"/>
          <a:ea typeface=""/>
          <a:cs typeface=""/>
        </a:font>
        <a:schemeClr val="dk1"/>
      </a:tcTxStyle>
      <a:tcStyle>
        <a:tcBdr>
          <a:top>
            <a:ln w="38100" cmpd="sng">
              <a:solidFill>
                <a:schemeClr val="dk1"/>
              </a:solidFill>
            </a:ln>
          </a:top>
        </a:tcBdr>
        <a:fill>
          <a:solidFill>
            <a:srgbClr val="7E8597"/>
          </a:solidFill>
        </a:fill>
      </a:tcStyle>
    </a:lastRow>
    <a:firstRow>
      <a:tcTxStyle>
        <a:font>
          <a:latin typeface="YS Geo Medium"/>
          <a:ea typeface=""/>
          <a:cs typeface=""/>
        </a:font>
        <a:schemeClr val="dk1"/>
      </a:tcTxStyle>
      <a:tcStyle>
        <a:tcBdr>
          <a:bottom>
            <a:ln w="38100" cmpd="sng">
              <a:solidFill>
                <a:schemeClr val="dk1"/>
              </a:solidFill>
            </a:ln>
          </a:bottom>
        </a:tcBdr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063" autoAdjust="0"/>
    <p:restoredTop sz="94748" autoAdjust="0"/>
  </p:normalViewPr>
  <p:slideViewPr>
    <p:cSldViewPr snapToGrid="0">
      <p:cViewPr>
        <p:scale>
          <a:sx n="49" d="100"/>
          <a:sy n="49" d="100"/>
        </p:scale>
        <p:origin x="848" y="536"/>
      </p:cViewPr>
      <p:guideLst/>
    </p:cSldViewPr>
  </p:slideViewPr>
  <p:notesTextViewPr>
    <p:cViewPr>
      <p:scale>
        <a:sx n="105" d="100"/>
        <a:sy n="105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8106" y="203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36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" Target="slides/slide4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5943093491197935E-3"/>
          <c:y val="8.119144913008676E-2"/>
          <c:w val="0.98281138130176038"/>
          <c:h val="0.7230858118188642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553-4CA0-A32A-A3E3A93F6B68}"/>
              </c:ext>
            </c:extLst>
          </c:dPt>
          <c:dPt>
            <c:idx val="1"/>
            <c:invertIfNegative val="0"/>
            <c:bubble3D val="0"/>
            <c:spPr>
              <a:gradFill flip="none" rotWithShape="1">
                <a:gsLst>
                  <a:gs pos="0">
                    <a:schemeClr val="accent4"/>
                  </a:gs>
                  <a:gs pos="100000">
                    <a:schemeClr val="accent1"/>
                  </a:gs>
                </a:gsLst>
                <a:lin ang="16200000" scaled="1"/>
                <a:tileRect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553-4CA0-A32A-A3E3A93F6B68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0" tIns="0" rIns="216000" bIns="0" anchor="ctr" anchorCtr="1">
                  <a:noAutofit/>
                </a:bodyPr>
                <a:lstStyle/>
                <a:p>
                  <a:pPr>
                    <a:defRPr sz="3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97976130513231"/>
                      <c:h val="0.1408988267100226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553-4CA0-A32A-A3E3A93F6B68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0" tIns="0" rIns="216000" bIns="0" anchor="ctr" anchorCtr="1">
                  <a:noAutofit/>
                </a:bodyPr>
                <a:lstStyle/>
                <a:p>
                  <a:pPr>
                    <a:defRPr sz="3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7671056352003"/>
                      <c:h val="0.1369432167518524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553-4CA0-A32A-A3E3A93F6B6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0" tIns="0" rIns="216000" bIns="0" anchor="ctr" anchorCtr="1">
                <a:spAutoFit/>
              </a:bodyPr>
              <a:lstStyle/>
              <a:p>
                <a:pPr>
                  <a:defRPr sz="3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4</c:v>
                </c:pt>
                <c:pt idx="1">
                  <c:v>2026</c:v>
                </c:pt>
              </c:numCache>
            </c:numRef>
          </c:cat>
          <c:val>
            <c:numRef>
              <c:f>Sheet1!$B$2:$B$3</c:f>
              <c:numCache>
                <c:formatCode>_-* #\ ##0_-;\-* #\ ##0_-;_-* "-"??_-;_-@_-</c:formatCode>
                <c:ptCount val="2"/>
                <c:pt idx="0">
                  <c:v>40</c:v>
                </c:pt>
                <c:pt idx="1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553-4CA0-A32A-A3E3A93F6B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9"/>
        <c:overlap val="-49"/>
        <c:axId val="103015919"/>
        <c:axId val="103017839"/>
      </c:barChart>
      <c:catAx>
        <c:axId val="10301591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800" b="0" i="0" u="none" strike="noStrike" kern="1200" baseline="0">
                <a:solidFill>
                  <a:schemeClr val="bg1">
                    <a:alpha val="22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3017839"/>
        <c:crosses val="autoZero"/>
        <c:auto val="1"/>
        <c:lblAlgn val="ctr"/>
        <c:lblOffset val="0"/>
        <c:noMultiLvlLbl val="0"/>
      </c:catAx>
      <c:valAx>
        <c:axId val="103017839"/>
        <c:scaling>
          <c:orientation val="minMax"/>
        </c:scaling>
        <c:delete val="1"/>
        <c:axPos val="l"/>
        <c:numFmt formatCode="_-* #\ ##0_-;\-* #\ ##0_-;_-* &quot;-&quot;??_-;_-@_-" sourceLinked="1"/>
        <c:majorTickMark val="none"/>
        <c:minorTickMark val="none"/>
        <c:tickLblPos val="nextTo"/>
        <c:crossAx val="10301591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2800"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5943093491197935E-3"/>
          <c:y val="8.119144913008676E-2"/>
          <c:w val="0.98281138130176038"/>
          <c:h val="0.7230858118188642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553-4CA0-A32A-A3E3A93F6B68}"/>
              </c:ext>
            </c:extLst>
          </c:dPt>
          <c:dPt>
            <c:idx val="1"/>
            <c:invertIfNegative val="0"/>
            <c:bubble3D val="0"/>
            <c:spPr>
              <a:gradFill flip="none" rotWithShape="1">
                <a:gsLst>
                  <a:gs pos="0">
                    <a:schemeClr val="accent4"/>
                  </a:gs>
                  <a:gs pos="100000">
                    <a:srgbClr val="FF0101"/>
                  </a:gs>
                </a:gsLst>
                <a:lin ang="16200000" scaled="1"/>
                <a:tileRect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553-4CA0-A32A-A3E3A93F6B68}"/>
              </c:ext>
            </c:extLst>
          </c:dPt>
          <c:dLbls>
            <c:dLbl>
              <c:idx val="0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0" tIns="0" rIns="216000" bIns="0" anchor="ctr" anchorCtr="1">
                  <a:noAutofit/>
                </a:bodyPr>
                <a:lstStyle/>
                <a:p>
                  <a:pPr>
                    <a:defRPr sz="3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97976130513231"/>
                      <c:h val="0.1408988267100226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553-4CA0-A32A-A3E3A93F6B68}"/>
                </c:ext>
              </c:extLst>
            </c:dLbl>
            <c:dLbl>
              <c:idx val="1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0" tIns="0" rIns="216000" bIns="0" anchor="ctr" anchorCtr="1">
                  <a:noAutofit/>
                </a:bodyPr>
                <a:lstStyle/>
                <a:p>
                  <a:pPr>
                    <a:defRPr sz="3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7671056352003"/>
                      <c:h val="0.1369432167518524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553-4CA0-A32A-A3E3A93F6B68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0" tIns="0" rIns="216000" bIns="0" anchor="ctr" anchorCtr="1">
                <a:spAutoFit/>
              </a:bodyPr>
              <a:lstStyle/>
              <a:p>
                <a:pPr>
                  <a:defRPr sz="3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4</c:v>
                </c:pt>
                <c:pt idx="1">
                  <c:v>2026</c:v>
                </c:pt>
              </c:numCache>
            </c:numRef>
          </c:cat>
          <c:val>
            <c:numRef>
              <c:f>Sheet1!$B$2:$B$3</c:f>
              <c:numCache>
                <c:formatCode>_-* #\ ##0_-;\-* #\ ##0_-;_-* "-"??_-;_-@_-</c:formatCode>
                <c:ptCount val="2"/>
                <c:pt idx="0">
                  <c:v>0.72</c:v>
                </c:pt>
                <c:pt idx="1">
                  <c:v>0.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553-4CA0-A32A-A3E3A93F6B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9"/>
        <c:overlap val="-49"/>
        <c:axId val="103015919"/>
        <c:axId val="103017839"/>
      </c:barChart>
      <c:catAx>
        <c:axId val="10301591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800" b="0" i="0" u="none" strike="noStrike" kern="1200" baseline="0">
                <a:solidFill>
                  <a:schemeClr val="bg1">
                    <a:alpha val="22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3017839"/>
        <c:crosses val="autoZero"/>
        <c:auto val="1"/>
        <c:lblAlgn val="ctr"/>
        <c:lblOffset val="0"/>
        <c:noMultiLvlLbl val="0"/>
      </c:catAx>
      <c:valAx>
        <c:axId val="103017839"/>
        <c:scaling>
          <c:orientation val="minMax"/>
          <c:max val="0.8"/>
          <c:min val="0"/>
        </c:scaling>
        <c:delete val="1"/>
        <c:axPos val="l"/>
        <c:numFmt formatCode="_-* #\ ##0_-;\-* #\ ##0_-;_-* &quot;-&quot;??_-;_-@_-" sourceLinked="1"/>
        <c:majorTickMark val="out"/>
        <c:minorTickMark val="none"/>
        <c:tickLblPos val="nextTo"/>
        <c:crossAx val="103015919"/>
        <c:crossesAt val="2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2800"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5943093491197935E-3"/>
          <c:y val="8.119144913008676E-2"/>
          <c:w val="0.98281138130176038"/>
          <c:h val="0.7230858118188642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553-4CA0-A32A-A3E3A93F6B68}"/>
              </c:ext>
            </c:extLst>
          </c:dPt>
          <c:dPt>
            <c:idx val="1"/>
            <c:invertIfNegative val="0"/>
            <c:bubble3D val="0"/>
            <c:spPr>
              <a:gradFill flip="none" rotWithShape="1">
                <a:gsLst>
                  <a:gs pos="0">
                    <a:schemeClr val="accent4"/>
                  </a:gs>
                  <a:gs pos="100000">
                    <a:srgbClr val="FF0101"/>
                  </a:gs>
                </a:gsLst>
                <a:lin ang="16200000" scaled="1"/>
                <a:tileRect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553-4CA0-A32A-A3E3A93F6B68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0" tIns="0" rIns="216000" bIns="0" anchor="ctr" anchorCtr="1">
                  <a:noAutofit/>
                </a:bodyPr>
                <a:lstStyle/>
                <a:p>
                  <a:pPr>
                    <a:defRPr sz="3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97976130513231"/>
                      <c:h val="0.1408988267100226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553-4CA0-A32A-A3E3A93F6B68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0" tIns="0" rIns="216000" bIns="0" anchor="ctr" anchorCtr="1">
                  <a:noAutofit/>
                </a:bodyPr>
                <a:lstStyle/>
                <a:p>
                  <a:pPr>
                    <a:defRPr sz="3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7671056352003"/>
                      <c:h val="0.1369432167518524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553-4CA0-A32A-A3E3A93F6B6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0" tIns="0" rIns="216000" bIns="0" anchor="ctr" anchorCtr="1">
                <a:spAutoFit/>
              </a:bodyPr>
              <a:lstStyle/>
              <a:p>
                <a:pPr>
                  <a:defRPr sz="3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4</c:v>
                </c:pt>
                <c:pt idx="1">
                  <c:v>2026</c:v>
                </c:pt>
              </c:numCache>
            </c:numRef>
          </c:cat>
          <c:val>
            <c:numRef>
              <c:f>Sheet1!$B$2:$B$3</c:f>
              <c:numCache>
                <c:formatCode>_-* #\ ##0_-;\-* #\ ##0_-;_-* "-"??_-;_-@_-</c:formatCode>
                <c:ptCount val="2"/>
                <c:pt idx="0">
                  <c:v>200</c:v>
                </c:pt>
                <c:pt idx="1">
                  <c:v>2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553-4CA0-A32A-A3E3A93F6B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9"/>
        <c:overlap val="-49"/>
        <c:axId val="103015919"/>
        <c:axId val="103017839"/>
      </c:barChart>
      <c:catAx>
        <c:axId val="10301591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800" b="0" i="0" u="none" strike="noStrike" kern="1200" baseline="0">
                <a:solidFill>
                  <a:schemeClr val="bg1">
                    <a:alpha val="22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3017839"/>
        <c:crosses val="autoZero"/>
        <c:auto val="1"/>
        <c:lblAlgn val="ctr"/>
        <c:lblOffset val="0"/>
        <c:noMultiLvlLbl val="0"/>
      </c:catAx>
      <c:valAx>
        <c:axId val="103017839"/>
        <c:scaling>
          <c:orientation val="minMax"/>
        </c:scaling>
        <c:delete val="1"/>
        <c:axPos val="l"/>
        <c:numFmt formatCode="_-* #\ ##0_-;\-* #\ ##0_-;_-* &quot;-&quot;??_-;_-@_-" sourceLinked="1"/>
        <c:majorTickMark val="out"/>
        <c:minorTickMark val="none"/>
        <c:tickLblPos val="nextTo"/>
        <c:crossAx val="10301591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2800"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5943093491197935E-3"/>
          <c:y val="8.119144913008676E-2"/>
          <c:w val="0.98281138130176038"/>
          <c:h val="0.7230858118188642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553-4CA0-A32A-A3E3A93F6B68}"/>
              </c:ext>
            </c:extLst>
          </c:dPt>
          <c:dPt>
            <c:idx val="1"/>
            <c:invertIfNegative val="0"/>
            <c:bubble3D val="0"/>
            <c:spPr>
              <a:gradFill flip="none" rotWithShape="1">
                <a:gsLst>
                  <a:gs pos="0">
                    <a:schemeClr val="accent4"/>
                  </a:gs>
                  <a:gs pos="100000">
                    <a:schemeClr val="accent1"/>
                  </a:gs>
                </a:gsLst>
                <a:lin ang="16200000" scaled="1"/>
                <a:tileRect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553-4CA0-A32A-A3E3A93F6B68}"/>
              </c:ext>
            </c:extLst>
          </c:dPt>
          <c:dLbls>
            <c:dLbl>
              <c:idx val="0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0" tIns="0" rIns="216000" bIns="0" anchor="ctr" anchorCtr="1">
                  <a:noAutofit/>
                </a:bodyPr>
                <a:lstStyle/>
                <a:p>
                  <a:pPr>
                    <a:defRPr sz="3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97976130513231"/>
                      <c:h val="0.1408988267100226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553-4CA0-A32A-A3E3A93F6B68}"/>
                </c:ext>
              </c:extLst>
            </c:dLbl>
            <c:dLbl>
              <c:idx val="1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0" tIns="0" rIns="216000" bIns="0" anchor="ctr" anchorCtr="1">
                  <a:noAutofit/>
                </a:bodyPr>
                <a:lstStyle/>
                <a:p>
                  <a:pPr>
                    <a:defRPr sz="3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7671056352003"/>
                      <c:h val="0.1369432167518524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553-4CA0-A32A-A3E3A93F6B68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0" tIns="0" rIns="216000" bIns="0" anchor="ctr" anchorCtr="1">
                <a:spAutoFit/>
              </a:bodyPr>
              <a:lstStyle/>
              <a:p>
                <a:pPr>
                  <a:defRPr sz="3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4</c:v>
                </c:pt>
                <c:pt idx="1">
                  <c:v>2026</c:v>
                </c:pt>
              </c:numCache>
            </c:numRef>
          </c:cat>
          <c:val>
            <c:numRef>
              <c:f>Sheet1!$B$2:$B$3</c:f>
              <c:numCache>
                <c:formatCode>_-* #\ ##0_-;\-* #\ ##0_-;_-* "-"??_-;_-@_-</c:formatCode>
                <c:ptCount val="2"/>
                <c:pt idx="0">
                  <c:v>0.53</c:v>
                </c:pt>
                <c:pt idx="1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553-4CA0-A32A-A3E3A93F6B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9"/>
        <c:overlap val="-49"/>
        <c:axId val="103015919"/>
        <c:axId val="103017839"/>
      </c:barChart>
      <c:catAx>
        <c:axId val="10301591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800" b="0" i="0" u="none" strike="noStrike" kern="1200" baseline="0">
                <a:solidFill>
                  <a:schemeClr val="bg1">
                    <a:alpha val="22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3017839"/>
        <c:crosses val="autoZero"/>
        <c:auto val="1"/>
        <c:lblAlgn val="ctr"/>
        <c:lblOffset val="0"/>
        <c:noMultiLvlLbl val="0"/>
      </c:catAx>
      <c:valAx>
        <c:axId val="103017839"/>
        <c:scaling>
          <c:orientation val="minMax"/>
          <c:max val="0.8"/>
          <c:min val="0"/>
        </c:scaling>
        <c:delete val="1"/>
        <c:axPos val="l"/>
        <c:numFmt formatCode="_-* #\ ##0_-;\-* #\ ##0_-;_-* &quot;-&quot;??_-;_-@_-" sourceLinked="1"/>
        <c:majorTickMark val="out"/>
        <c:minorTickMark val="none"/>
        <c:tickLblPos val="nextTo"/>
        <c:crossAx val="10301591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2800"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2C5C60-F37A-814E-99F6-3C775637DBC0}" type="datetimeFigureOut">
              <a:rPr lang="ru-RU" smtClean="0">
                <a:latin typeface="Arial" panose="020B0604020202020204" pitchFamily="34" charset="0"/>
              </a:rPr>
              <a:t>25.04.2026</a:t>
            </a:fld>
            <a:endParaRPr lang="ru-RU">
              <a:latin typeface="Arial" panose="020B0604020202020204" pitchFamily="34" charset="0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>
              <a:latin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ABC657-1F7B-DB4E-9001-D45F13547058}" type="slidenum">
              <a:rPr lang="ru-RU" smtClean="0">
                <a:latin typeface="Arial" panose="020B0604020202020204" pitchFamily="34" charset="0"/>
              </a:rPr>
              <a:t>‹#›</a:t>
            </a:fld>
            <a:endParaRPr lang="ru-RU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438786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A48BA324-014D-41B7-8E83-ECE8F197A959}" type="datetimeFigureOut">
              <a:rPr lang="ru-RU" smtClean="0"/>
              <a:pPr/>
              <a:t>25.04.202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281397F6-5F69-4798-869B-9B0266F8F8F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58443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54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177" algn="l" defTabSz="914354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354" algn="l" defTabSz="914354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531" algn="l" defTabSz="914354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709" algn="l" defTabSz="914354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5886" algn="l" defTabSz="91435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63" algn="l" defTabSz="91435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91435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417" algn="l" defTabSz="91435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397F6-5F69-4798-869B-9B0266F8F8FE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896574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397F6-5F69-4798-869B-9B0266F8F8FE}" type="slidenum">
              <a:rPr lang="ru-RU" smtClean="0"/>
              <a:pPr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57639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397F6-5F69-4798-869B-9B0266F8F8FE}" type="slidenum">
              <a:rPr lang="ru-RU" smtClean="0"/>
              <a:pPr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49473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397F6-5F69-4798-869B-9B0266F8F8FE}" type="slidenum">
              <a:rPr lang="ru-RU" smtClean="0"/>
              <a:pPr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7517195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397F6-5F69-4798-869B-9B0266F8F8FE}" type="slidenum">
              <a:rPr lang="ru-RU" smtClean="0"/>
              <a:pPr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433899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397F6-5F69-4798-869B-9B0266F8F8FE}" type="slidenum">
              <a:rPr lang="ru-RU" smtClean="0"/>
              <a:pPr/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88750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397F6-5F69-4798-869B-9B0266F8F8FE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05100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397F6-5F69-4798-869B-9B0266F8F8FE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76584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397F6-5F69-4798-869B-9B0266F8F8FE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51977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Самокаты: 70/70</a:t>
            </a:r>
            <a:r>
              <a:rPr lang="en-US" dirty="0"/>
              <a:t>% </a:t>
            </a:r>
            <a:r>
              <a:rPr lang="en-US" dirty="0" err="1"/>
              <a:t>б</a:t>
            </a:r>
            <a:r>
              <a:rPr lang="ru-RU" dirty="0" err="1"/>
              <a:t>ыло</a:t>
            </a:r>
            <a:r>
              <a:rPr lang="ru-RU" dirty="0"/>
              <a:t> в 2023 = одинаково и для удовольствия и для транспорта </a:t>
            </a:r>
            <a:br>
              <a:rPr lang="ru-RU" dirty="0"/>
            </a:br>
            <a:r>
              <a:rPr lang="ru-RU" dirty="0"/>
              <a:t>Еда: побаловать себя упал на 3 процента с 2022 года, утоление голода вырос на 6 процентов за тот же период. СЦЕНАРИЙ БАЛОВСТВА ПАДАЕТ КАЖДЫЙ ГОД ВО ВСЕХ СЕРВИСАХ, рациональный каждый год растет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397F6-5F69-4798-869B-9B0266F8F8FE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95826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397F6-5F69-4798-869B-9B0266F8F8FE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85559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chemeClr val="bg1"/>
                </a:solidFill>
              </a:rPr>
              <a:t>Для него время — физически ощутимая ценность. Не абстрактная, </a:t>
            </a:r>
            <a:br>
              <a:rPr lang="ru-RU" dirty="0">
                <a:solidFill>
                  <a:schemeClr val="bg1"/>
                </a:solidFill>
              </a:rPr>
            </a:br>
            <a:r>
              <a:rPr lang="ru-RU" dirty="0">
                <a:solidFill>
                  <a:schemeClr val="bg1"/>
                </a:solidFill>
              </a:rPr>
              <a:t>а физическая. Он буквально чувствует потерянные минуты как дискомфорт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397F6-5F69-4798-869B-9B0266F8F8FE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85236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chemeClr val="bg1"/>
                </a:solidFill>
              </a:rPr>
              <a:t>Это человек, который открыл для себя, что экосистема позволяет ему жить так, как раньше позволяли только большие деньги или большие связи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397F6-5F69-4798-869B-9B0266F8F8FE}" type="slidenum">
              <a:rPr lang="ru-RU" smtClean="0"/>
              <a:pPr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55095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Сервис — драйвер номер 1 при выборе </a:t>
            </a:r>
            <a:r>
              <a:rPr lang="ru-RU" dirty="0" err="1"/>
              <a:t>ультимы</a:t>
            </a:r>
            <a:r>
              <a:rPr lang="ru-RU" dirty="0"/>
              <a:t>. С большим отрывом на втором месте премиальность (30</a:t>
            </a:r>
            <a:r>
              <a:rPr lang="en-US" dirty="0"/>
              <a:t>%)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397F6-5F69-4798-869B-9B0266F8F8FE}" type="slidenum">
              <a:rPr lang="ru-RU" smtClean="0"/>
              <a:pPr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54399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2.png"/><Relationship Id="rId7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svg"/><Relationship Id="rId4" Type="http://schemas.openxmlformats.org/officeDocument/2006/relationships/image" Target="../media/image3.png"/><Relationship Id="rId9" Type="http://schemas.openxmlformats.org/officeDocument/2006/relationships/image" Target="../media/image7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13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7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1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8.png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7.sv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9.png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7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6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3.png"/><Relationship Id="rId5" Type="http://schemas.openxmlformats.org/officeDocument/2006/relationships/image" Target="../media/image15.png"/><Relationship Id="rId4" Type="http://schemas.openxmlformats.org/officeDocument/2006/relationships/image" Target="../media/image11.emf"/><Relationship Id="rId9" Type="http://schemas.openxmlformats.org/officeDocument/2006/relationships/image" Target="../media/image7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6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6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close up of a building&#10;&#10;AI-generated content may be incorrect.">
            <a:extLst>
              <a:ext uri="{FF2B5EF4-FFF2-40B4-BE49-F238E27FC236}">
                <a16:creationId xmlns:a16="http://schemas.microsoft.com/office/drawing/2014/main" id="{0762DDFD-7523-2D5D-1C16-4E75DC3D61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4382413" cy="13716666"/>
          </a:xfrm>
          <a:prstGeom prst="rect">
            <a:avLst/>
          </a:prstGeom>
        </p:spPr>
      </p:pic>
      <p:sp>
        <p:nvSpPr>
          <p:cNvPr id="3" name="Rectangle: Top Corners Rounded 2">
            <a:extLst>
              <a:ext uri="{FF2B5EF4-FFF2-40B4-BE49-F238E27FC236}">
                <a16:creationId xmlns:a16="http://schemas.microsoft.com/office/drawing/2014/main" id="{BF3E44E4-8DD9-8D94-D7D7-0F987355CC57}"/>
              </a:ext>
            </a:extLst>
          </p:cNvPr>
          <p:cNvSpPr/>
          <p:nvPr userDrawn="1"/>
        </p:nvSpPr>
        <p:spPr>
          <a:xfrm rot="5400000">
            <a:off x="-925032" y="925032"/>
            <a:ext cx="13716000" cy="11865936"/>
          </a:xfrm>
          <a:prstGeom prst="round2SameRect">
            <a:avLst>
              <a:gd name="adj1" fmla="val 6299"/>
              <a:gd name="adj2" fmla="val 0"/>
            </a:avLst>
          </a:prstGeom>
          <a:gradFill flip="none" rotWithShape="1">
            <a:gsLst>
              <a:gs pos="0">
                <a:srgbClr val="292B31"/>
              </a:gs>
              <a:gs pos="100000">
                <a:srgbClr val="292B31">
                  <a:alpha val="0"/>
                </a:srgbClr>
              </a:gs>
            </a:gsLst>
            <a:lin ang="16200000" scaled="1"/>
            <a:tileRect/>
          </a:gradFill>
          <a:ln>
            <a:gradFill flip="none" rotWithShape="1">
              <a:gsLst>
                <a:gs pos="0">
                  <a:schemeClr val="bg2">
                    <a:alpha val="7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81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00932042-1B67-72DE-69B1-7B9703BE506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3132" y="978194"/>
            <a:ext cx="4533808" cy="66118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2A1AED3-23E5-2746-8F13-63DB8C998D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402198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2A1AED3-23E5-2746-8F13-63DB8C998D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4160CBDA-2E62-6585-698A-234EAE14593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3132" y="7185624"/>
            <a:ext cx="10570322" cy="407650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11000" dirty="0">
                <a:solidFill>
                  <a:schemeClr val="bg1"/>
                </a:solidFill>
                <a:latin typeface="+mj-lt"/>
              </a:defRPr>
            </a:lvl1pPr>
          </a:lstStyle>
          <a:p>
            <a:pPr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презентации</a:t>
            </a:r>
            <a:br>
              <a:rPr lang="ru-RU" dirty="0"/>
            </a:br>
            <a:r>
              <a:rPr lang="ru-RU" dirty="0"/>
              <a:t>в три строки</a:t>
            </a:r>
            <a:endParaRPr lang="en-US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2D599784-5320-72FB-A665-7B9CF988663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3132" y="12028200"/>
            <a:ext cx="10570322" cy="725488"/>
          </a:xfrm>
          <a:prstGeom prst="rect">
            <a:avLst/>
          </a:prstGeom>
        </p:spPr>
        <p:txBody>
          <a:bodyPr lIns="0" tIns="0" rIns="0" bIns="251999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600" b="0" i="0" baseline="0">
                <a:solidFill>
                  <a:schemeClr val="bg1"/>
                </a:solidFill>
                <a:latin typeface="+mn-lt"/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r>
              <a:rPr lang="ru-RU" dirty="0"/>
              <a:t>имя и фамилия, должность</a:t>
            </a:r>
            <a:endParaRPr lang="en-US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80C79704-2D2F-A361-1659-2C785D1B2BE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0262921" y="978194"/>
            <a:ext cx="3226361" cy="70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193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_градиен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34DA0F2E-1493-F20B-CDF7-0AC1A7D1F97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7906" b="17906"/>
          <a:stretch/>
        </p:blipFill>
        <p:spPr>
          <a:xfrm>
            <a:off x="0" y="0"/>
            <a:ext cx="24382413" cy="13716000"/>
          </a:xfrm>
          <a:prstGeom prst="rect">
            <a:avLst/>
          </a:prstGeom>
        </p:spPr>
      </p:pic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5D61B20-EC69-AB88-F8B3-84C428B817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28749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D61B20-EC69-AB88-F8B3-84C428B817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E0649AD-5B61-B8BE-2C6E-816FCED171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92606" y="978194"/>
            <a:ext cx="22597200" cy="994952"/>
          </a:xfrm>
        </p:spPr>
        <p:txBody>
          <a:bodyPr vert="horz" tIns="0">
            <a:spAutoFit/>
          </a:bodyPr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заголовок слайда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8D59E2-483A-57FD-F3EF-2E16025010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92606" y="12816067"/>
            <a:ext cx="20160000" cy="42527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0000"/>
              </a:lnSpc>
              <a:defRPr sz="1800" b="0" i="0" baseline="0">
                <a:solidFill>
                  <a:schemeClr val="bg1"/>
                </a:solidFill>
                <a:latin typeface="+mn-lt"/>
              </a:defRPr>
            </a:lvl1pPr>
          </a:lstStyle>
          <a:p>
            <a:endParaRPr lang="ru-RU" dirty="0"/>
          </a:p>
        </p:txBody>
      </p:sp>
      <p:sp>
        <p:nvSpPr>
          <p:cNvPr id="6" name="TextBox 1">
            <a:extLst>
              <a:ext uri="{FF2B5EF4-FFF2-40B4-BE49-F238E27FC236}">
                <a16:creationId xmlns:a16="http://schemas.microsoft.com/office/drawing/2014/main" id="{A5DEEA38-551D-E005-1077-DE259DF3BFBC}"/>
              </a:ext>
            </a:extLst>
          </p:cNvPr>
          <p:cNvSpPr>
            <a:spLocks noAdjustHandles="1"/>
          </p:cNvSpPr>
          <p:nvPr userDrawn="1"/>
        </p:nvSpPr>
        <p:spPr bwMode="auto">
          <a:xfrm>
            <a:off x="23014684" y="12996656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defRPr/>
            </a:pPr>
            <a:fld id="{BE3D2F9B-EE15-BC4D-95C9-0CB8D6880064}" type="slidenum">
              <a:rPr lang="ru-RU" sz="1800" b="0" i="0">
                <a:solidFill>
                  <a:schemeClr val="bg1"/>
                </a:solidFill>
                <a:latin typeface="+mn-lt"/>
              </a:rPr>
              <a:pPr algn="r">
                <a:defRPr/>
              </a:pPr>
              <a:t>‹#›</a:t>
            </a:fld>
            <a:endParaRPr lang="ru-RU" sz="1800" b="0" i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384412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криншоты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ue and black background&#10;&#10;AI-generated content may be incorrect.">
            <a:extLst>
              <a:ext uri="{FF2B5EF4-FFF2-40B4-BE49-F238E27FC236}">
                <a16:creationId xmlns:a16="http://schemas.microsoft.com/office/drawing/2014/main" id="{8ACA4100-7777-5773-B902-2AFBFF62CAE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4385311" cy="13716000"/>
          </a:xfrm>
          <a:prstGeom prst="rect">
            <a:avLst/>
          </a:prstGeom>
        </p:spPr>
      </p:pic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5D61B20-EC69-AB88-F8B3-84C428B817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28749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D61B20-EC69-AB88-F8B3-84C428B817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E0649AD-5B61-B8BE-2C6E-816FCED171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92606" y="978194"/>
            <a:ext cx="22597200" cy="994952"/>
          </a:xfrm>
        </p:spPr>
        <p:txBody>
          <a:bodyPr vert="horz" tIns="0">
            <a:spAutoFit/>
          </a:bodyPr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заголовок слайда</a:t>
            </a:r>
            <a:endParaRPr lang="en-GB" dirty="0"/>
          </a:p>
        </p:txBody>
      </p:sp>
      <p:sp>
        <p:nvSpPr>
          <p:cNvPr id="6" name="TextBox 1">
            <a:extLst>
              <a:ext uri="{FF2B5EF4-FFF2-40B4-BE49-F238E27FC236}">
                <a16:creationId xmlns:a16="http://schemas.microsoft.com/office/drawing/2014/main" id="{A5DEEA38-551D-E005-1077-DE259DF3BFBC}"/>
              </a:ext>
            </a:extLst>
          </p:cNvPr>
          <p:cNvSpPr>
            <a:spLocks noAdjustHandles="1"/>
          </p:cNvSpPr>
          <p:nvPr userDrawn="1"/>
        </p:nvSpPr>
        <p:spPr bwMode="auto">
          <a:xfrm>
            <a:off x="23014684" y="12996656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defRPr/>
            </a:pPr>
            <a:fld id="{BE3D2F9B-EE15-BC4D-95C9-0CB8D6880064}" type="slidenum">
              <a:rPr lang="ru-RU" sz="1800" b="0" i="0">
                <a:solidFill>
                  <a:schemeClr val="bg1"/>
                </a:solidFill>
                <a:latin typeface="+mn-lt"/>
              </a:rPr>
              <a:pPr algn="r">
                <a:defRPr/>
              </a:pPr>
              <a:t>‹#›</a:t>
            </a:fld>
            <a:endParaRPr lang="ru-RU" sz="1800" b="0" i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171965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4B5F163-38E6-3C4A-8884-DD75C2DD4C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241113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4B5F163-38E6-3C4A-8884-DD75C2DD4C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849294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lose up of two ovals&#10;&#10;AI-generated content may be incorrect.">
            <a:extLst>
              <a:ext uri="{FF2B5EF4-FFF2-40B4-BE49-F238E27FC236}">
                <a16:creationId xmlns:a16="http://schemas.microsoft.com/office/drawing/2014/main" id="{2AE061A8-615E-0D18-4E30-88EE2928FD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4382413" cy="13715107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2A1AED3-23E5-2746-8F13-63DB8C998D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402198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2A1AED3-23E5-2746-8F13-63DB8C998D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4160CBDA-2E62-6585-698A-234EAE14593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3132" y="7185624"/>
            <a:ext cx="10570322" cy="407650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11000" dirty="0">
                <a:solidFill>
                  <a:schemeClr val="bg1"/>
                </a:solidFill>
                <a:latin typeface="+mj-lt"/>
              </a:defRPr>
            </a:lvl1pPr>
          </a:lstStyle>
          <a:p>
            <a:pPr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презентации</a:t>
            </a:r>
            <a:br>
              <a:rPr lang="ru-RU" dirty="0"/>
            </a:br>
            <a:r>
              <a:rPr lang="ru-RU" dirty="0"/>
              <a:t>в три строки</a:t>
            </a:r>
            <a:endParaRPr lang="en-US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2D599784-5320-72FB-A665-7B9CF988663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3132" y="12028200"/>
            <a:ext cx="10570322" cy="725488"/>
          </a:xfrm>
          <a:prstGeom prst="rect">
            <a:avLst/>
          </a:prstGeom>
        </p:spPr>
        <p:txBody>
          <a:bodyPr lIns="0" tIns="0" rIns="0" bIns="251999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600" b="0" i="0" baseline="0">
                <a:solidFill>
                  <a:schemeClr val="bg1"/>
                </a:solidFill>
                <a:latin typeface="+mn-lt"/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r>
              <a:rPr lang="ru-RU" dirty="0"/>
              <a:t>имя и фамилия, должность</a:t>
            </a:r>
            <a:endParaRPr lang="en-US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AC998AF-AD02-9440-E849-9D4A4F9A086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93132" y="978194"/>
            <a:ext cx="4533808" cy="661180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852F3543-78C3-0D4C-C9E4-FBE5EC9798B6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0262921" y="12028606"/>
            <a:ext cx="3226361" cy="70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77811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and white lines on a black background&#10;&#10;AI-generated content may be incorrect.">
            <a:extLst>
              <a:ext uri="{FF2B5EF4-FFF2-40B4-BE49-F238E27FC236}">
                <a16:creationId xmlns:a16="http://schemas.microsoft.com/office/drawing/2014/main" id="{AC7E1DC9-6763-4405-3E8F-D2BC7B54AAA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4383288" cy="13716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2A1AED3-23E5-2746-8F13-63DB8C998D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917444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2A1AED3-23E5-2746-8F13-63DB8C998D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6D50639F-F59F-B746-A68D-63C278D476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3132" y="2996709"/>
            <a:ext cx="8755743" cy="4076501"/>
          </a:xfr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11000" dirty="0">
                <a:solidFill>
                  <a:schemeClr val="bg1"/>
                </a:solidFill>
                <a:latin typeface="+mj-lt"/>
              </a:defRPr>
            </a:lvl1pPr>
          </a:lstStyle>
          <a:p>
            <a:pPr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презентации</a:t>
            </a:r>
            <a:br>
              <a:rPr lang="ru-RU" dirty="0"/>
            </a:br>
            <a:r>
              <a:rPr lang="ru-RU" dirty="0"/>
              <a:t>в три строки</a:t>
            </a:r>
            <a:endParaRPr lang="en-US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865FECBD-C1E9-7E18-1886-FA4787ED8E5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3132" y="12028200"/>
            <a:ext cx="8755743" cy="725488"/>
          </a:xfrm>
          <a:prstGeom prst="rect">
            <a:avLst/>
          </a:prstGeom>
        </p:spPr>
        <p:txBody>
          <a:bodyPr lIns="0" tIns="0" rIns="0" bIns="251999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600" b="0" i="0" baseline="0">
                <a:solidFill>
                  <a:schemeClr val="bg1"/>
                </a:solidFill>
                <a:latin typeface="+mn-lt"/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r>
              <a:rPr lang="ru-RU" dirty="0"/>
              <a:t>имя и фамилия, должность</a:t>
            </a:r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10E99EC-2276-70E8-2527-E01B3E21433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93132" y="978194"/>
            <a:ext cx="4533808" cy="66118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220437D3-05CA-C656-4795-271FC686115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0262921" y="978194"/>
            <a:ext cx="3226361" cy="70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5513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light on a black background&#10;&#10;AI-generated content may be incorrect.">
            <a:extLst>
              <a:ext uri="{FF2B5EF4-FFF2-40B4-BE49-F238E27FC236}">
                <a16:creationId xmlns:a16="http://schemas.microsoft.com/office/drawing/2014/main" id="{9A777599-5D80-10BB-4054-4BBAF7E0602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" y="0"/>
            <a:ext cx="24382207" cy="13716000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4B5F163-38E6-3C4A-8884-DD75C2DD4C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249185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4B5F163-38E6-3C4A-8884-DD75C2DD4C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3">
            <a:extLst>
              <a:ext uri="{FF2B5EF4-FFF2-40B4-BE49-F238E27FC236}">
                <a16:creationId xmlns:a16="http://schemas.microsoft.com/office/drawing/2014/main" id="{F1F4520F-52AD-1A48-9C8D-4DE8B66AEA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93132" y="3056492"/>
            <a:ext cx="8764797" cy="29697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defRPr lang="ru-RU" sz="9600" dirty="0">
                <a:solidFill>
                  <a:schemeClr val="bg1"/>
                </a:solidFill>
                <a:latin typeface="+mj-lt"/>
              </a:defRPr>
            </a:lvl1pPr>
          </a:lstStyle>
          <a:p>
            <a:pPr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ru-RU" dirty="0"/>
              <a:t>название</a:t>
            </a:r>
            <a:br>
              <a:rPr lang="ru-RU" dirty="0"/>
            </a:br>
            <a:r>
              <a:rPr lang="ru-RU" dirty="0"/>
              <a:t>раздела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1DE9431-E991-9107-4EA4-1DAB9D5135C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3132" y="1022798"/>
            <a:ext cx="1767097" cy="1384995"/>
          </a:xfrm>
        </p:spPr>
        <p:txBody>
          <a:bodyPr wrap="square" anchor="ctr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9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A52E91EB-2463-7DCA-EC4E-BC26DD9758C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0262921" y="1258593"/>
            <a:ext cx="3226361" cy="70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67838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_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4B5F163-38E6-3C4A-8884-DD75C2DD4C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249185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4B5F163-38E6-3C4A-8884-DD75C2DD4C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phic 3">
            <a:extLst>
              <a:ext uri="{FF2B5EF4-FFF2-40B4-BE49-F238E27FC236}">
                <a16:creationId xmlns:a16="http://schemas.microsoft.com/office/drawing/2014/main" id="{00F6BA32-8FE3-938C-101D-1B8ECCFF3C8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17906" b="17906"/>
          <a:stretch/>
        </p:blipFill>
        <p:spPr>
          <a:xfrm>
            <a:off x="0" y="0"/>
            <a:ext cx="24382413" cy="13716000"/>
          </a:xfrm>
          <a:prstGeom prst="rect">
            <a:avLst/>
          </a:prstGeom>
        </p:spPr>
      </p:pic>
      <p:pic>
        <p:nvPicPr>
          <p:cNvPr id="8" name="pasted-movie.png" descr="pasted-movie.png">
            <a:extLst>
              <a:ext uri="{FF2B5EF4-FFF2-40B4-BE49-F238E27FC236}">
                <a16:creationId xmlns:a16="http://schemas.microsoft.com/office/drawing/2014/main" id="{237BF30E-8A05-793D-F9CD-289C1A35C9D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alphaModFix amt="44869"/>
          </a:blip>
          <a:srcRect r="712" b="819"/>
          <a:stretch/>
        </p:blipFill>
        <p:spPr>
          <a:xfrm>
            <a:off x="0" y="0"/>
            <a:ext cx="24382412" cy="13716000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Заголовок 3">
            <a:extLst>
              <a:ext uri="{FF2B5EF4-FFF2-40B4-BE49-F238E27FC236}">
                <a16:creationId xmlns:a16="http://schemas.microsoft.com/office/drawing/2014/main" id="{F1F4520F-52AD-1A48-9C8D-4DE8B66AEA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93131" y="6261010"/>
            <a:ext cx="22596150" cy="119398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ctr">
              <a:lnSpc>
                <a:spcPct val="80000"/>
              </a:lnSpc>
              <a:spcBef>
                <a:spcPts val="0"/>
              </a:spcBef>
              <a:defRPr lang="ru-RU" sz="9600" dirty="0">
                <a:solidFill>
                  <a:schemeClr val="bg1"/>
                </a:solidFill>
                <a:latin typeface="+mj-lt"/>
              </a:defRPr>
            </a:lvl1pPr>
          </a:lstStyle>
          <a:p>
            <a:pPr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ru-RU" dirty="0"/>
              <a:t>название раздела</a:t>
            </a:r>
          </a:p>
        </p:txBody>
      </p:sp>
    </p:spTree>
    <p:extLst>
      <p:ext uri="{BB962C8B-B14F-4D97-AF65-F5344CB8AC3E}">
        <p14:creationId xmlns:p14="http://schemas.microsoft.com/office/powerpoint/2010/main" val="17034544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4B5F163-38E6-3C4A-8884-DD75C2DD4C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56060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4B5F163-38E6-3C4A-8884-DD75C2DD4C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blue and white curves on a black background&#10;&#10;AI-generated content may be incorrect.">
            <a:extLst>
              <a:ext uri="{FF2B5EF4-FFF2-40B4-BE49-F238E27FC236}">
                <a16:creationId xmlns:a16="http://schemas.microsoft.com/office/drawing/2014/main" id="{70BE8BF5-5D04-3126-F0BB-833ED44F32A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1"/>
            <a:ext cx="24382413" cy="13781853"/>
          </a:xfrm>
          <a:prstGeom prst="rect">
            <a:avLst/>
          </a:prstGeom>
        </p:spPr>
      </p:pic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42F2627-720D-DB68-051D-DBD46EF6BB01}"/>
              </a:ext>
            </a:extLst>
          </p:cNvPr>
          <p:cNvSpPr/>
          <p:nvPr userDrawn="1"/>
        </p:nvSpPr>
        <p:spPr>
          <a:xfrm>
            <a:off x="893132" y="896535"/>
            <a:ext cx="10086210" cy="11922933"/>
          </a:xfrm>
          <a:prstGeom prst="roundRect">
            <a:avLst>
              <a:gd name="adj" fmla="val 7647"/>
            </a:avLst>
          </a:prstGeom>
          <a:noFill/>
          <a:ln>
            <a:gradFill flip="none" rotWithShape="1">
              <a:gsLst>
                <a:gs pos="0">
                  <a:schemeClr val="bg2">
                    <a:alpha val="7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81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7" name="Заголовок 11">
            <a:extLst>
              <a:ext uri="{FF2B5EF4-FFF2-40B4-BE49-F238E27FC236}">
                <a16:creationId xmlns:a16="http://schemas.microsoft.com/office/drawing/2014/main" id="{3ADD5715-2B0A-F73C-9B64-E3774A196C75}"/>
              </a:ext>
            </a:extLst>
          </p:cNvPr>
          <p:cNvSpPr txBox="1">
            <a:spLocks/>
          </p:cNvSpPr>
          <p:nvPr userDrawn="1"/>
        </p:nvSpPr>
        <p:spPr>
          <a:xfrm>
            <a:off x="1814605" y="4270214"/>
            <a:ext cx="8426139" cy="99495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1828619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8000" b="0" i="0" kern="1200">
                <a:solidFill>
                  <a:schemeClr val="tx1"/>
                </a:solidFill>
                <a:latin typeface="+mj-lt"/>
                <a:ea typeface="+mj-ea"/>
                <a:cs typeface="YS Display Cond" pitchFamily="2" charset="0"/>
              </a:defRPr>
            </a:lvl1pPr>
          </a:lstStyle>
          <a:p>
            <a:r>
              <a:rPr lang="ru-RU" dirty="0">
                <a:solidFill>
                  <a:schemeClr val="bg1"/>
                </a:solidFill>
              </a:rPr>
              <a:t>контакты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D3A0D74-0C7E-1FF4-8E13-537F46CFF63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814605" y="1808049"/>
            <a:ext cx="4533808" cy="661180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BEB53594-0BBD-DE95-C0D7-E9D7254C25C6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0262921" y="1258593"/>
            <a:ext cx="3226361" cy="70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160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_белый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5D61B20-EC69-AB88-F8B3-84C428B817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879040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E0649AD-5B61-B8BE-2C6E-816FCED171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93132" y="978194"/>
            <a:ext cx="22596150" cy="994952"/>
          </a:xfrm>
        </p:spPr>
        <p:txBody>
          <a:bodyPr vert="horz" wrap="square" tIns="0">
            <a:spAutoFit/>
          </a:bodyPr>
          <a:lstStyle>
            <a:lvl1pPr>
              <a:defRPr b="0"/>
            </a:lvl1pPr>
          </a:lstStyle>
          <a:p>
            <a:r>
              <a:rPr lang="ru-RU" dirty="0"/>
              <a:t>заголовок слайда</a:t>
            </a:r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9B3AF9E5-DCCF-6FA5-6F01-EE856F2CA9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93132" y="12816067"/>
            <a:ext cx="20160000" cy="42527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0000"/>
              </a:lnSpc>
              <a:defRPr sz="1800" b="0" i="0"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ru-RU" dirty="0"/>
          </a:p>
        </p:txBody>
      </p:sp>
      <p:sp>
        <p:nvSpPr>
          <p:cNvPr id="7" name="TextBox 1">
            <a:extLst>
              <a:ext uri="{FF2B5EF4-FFF2-40B4-BE49-F238E27FC236}">
                <a16:creationId xmlns:a16="http://schemas.microsoft.com/office/drawing/2014/main" id="{E7BF6617-3554-15F8-6EB7-57B1C2B22F70}"/>
              </a:ext>
            </a:extLst>
          </p:cNvPr>
          <p:cNvSpPr>
            <a:spLocks noAdjustHandles="1"/>
          </p:cNvSpPr>
          <p:nvPr userDrawn="1"/>
        </p:nvSpPr>
        <p:spPr bwMode="auto">
          <a:xfrm>
            <a:off x="23014160" y="12996656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defRPr/>
            </a:pPr>
            <a:fld id="{BE3D2F9B-EE15-BC4D-95C9-0CB8D6880064}" type="slidenum">
              <a:rPr lang="ru-RU" sz="1800" b="0" i="0">
                <a:solidFill>
                  <a:schemeClr val="tx1"/>
                </a:solidFill>
                <a:latin typeface="+mn-lt"/>
              </a:rPr>
              <a:pPr algn="r">
                <a:defRPr/>
              </a:pPr>
              <a:t>‹#›</a:t>
            </a:fld>
            <a:endParaRPr lang="ru-RU" sz="1800" b="0" i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11868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_серый_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5D61B20-EC69-AB88-F8B3-84C428B817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28749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D61B20-EC69-AB88-F8B3-84C428B817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BB08A761-A889-47A0-ACFC-C692D755927E}"/>
              </a:ext>
            </a:extLst>
          </p:cNvPr>
          <p:cNvSpPr/>
          <p:nvPr userDrawn="1"/>
        </p:nvSpPr>
        <p:spPr>
          <a:xfrm>
            <a:off x="0" y="0"/>
            <a:ext cx="24382413" cy="1371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E0649AD-5B61-B8BE-2C6E-816FCED171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92606" y="978194"/>
            <a:ext cx="22597200" cy="994952"/>
          </a:xfrm>
        </p:spPr>
        <p:txBody>
          <a:bodyPr vert="horz" tIns="0">
            <a:spAutoFit/>
          </a:bodyPr>
          <a:lstStyle>
            <a:lvl1pPr>
              <a:defRPr b="0"/>
            </a:lvl1pPr>
          </a:lstStyle>
          <a:p>
            <a:r>
              <a:rPr lang="ru-RU" dirty="0"/>
              <a:t>заголовок слайда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8D59E2-483A-57FD-F3EF-2E16025010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92606" y="12816067"/>
            <a:ext cx="20160000" cy="42527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0000"/>
              </a:lnSpc>
              <a:defRPr sz="1800" b="0" i="0"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ru-RU" dirty="0"/>
          </a:p>
        </p:txBody>
      </p:sp>
      <p:sp>
        <p:nvSpPr>
          <p:cNvPr id="6" name="TextBox 1">
            <a:extLst>
              <a:ext uri="{FF2B5EF4-FFF2-40B4-BE49-F238E27FC236}">
                <a16:creationId xmlns:a16="http://schemas.microsoft.com/office/drawing/2014/main" id="{A5DEEA38-551D-E005-1077-DE259DF3BFBC}"/>
              </a:ext>
            </a:extLst>
          </p:cNvPr>
          <p:cNvSpPr>
            <a:spLocks noAdjustHandles="1"/>
          </p:cNvSpPr>
          <p:nvPr userDrawn="1"/>
        </p:nvSpPr>
        <p:spPr bwMode="auto">
          <a:xfrm>
            <a:off x="23014684" y="12996656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defRPr/>
            </a:pPr>
            <a:fld id="{BE3D2F9B-EE15-BC4D-95C9-0CB8D6880064}" type="slidenum">
              <a:rPr lang="ru-RU" sz="1800" b="0" i="0">
                <a:solidFill>
                  <a:schemeClr val="tx1"/>
                </a:solidFill>
                <a:latin typeface="+mn-lt"/>
              </a:rPr>
              <a:pPr algn="r">
                <a:defRPr/>
              </a:pPr>
              <a:t>‹#›</a:t>
            </a:fld>
            <a:endParaRPr lang="ru-RU" sz="1800" b="0" i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191273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_графитовы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5D61B20-EC69-AB88-F8B3-84C428B817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28749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D61B20-EC69-AB88-F8B3-84C428B817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BB08A761-A889-47A0-ACFC-C692D755927E}"/>
              </a:ext>
            </a:extLst>
          </p:cNvPr>
          <p:cNvSpPr/>
          <p:nvPr userDrawn="1"/>
        </p:nvSpPr>
        <p:spPr>
          <a:xfrm>
            <a:off x="0" y="0"/>
            <a:ext cx="24382413" cy="13716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E0649AD-5B61-B8BE-2C6E-816FCED171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92606" y="978194"/>
            <a:ext cx="22597200" cy="994952"/>
          </a:xfrm>
        </p:spPr>
        <p:txBody>
          <a:bodyPr vert="horz" tIns="0">
            <a:spAutoFit/>
          </a:bodyPr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заголовок слайда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8D59E2-483A-57FD-F3EF-2E16025010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92606" y="12816067"/>
            <a:ext cx="20160000" cy="42527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0000"/>
              </a:lnSpc>
              <a:defRPr sz="1800" b="0" i="0" baseline="0">
                <a:solidFill>
                  <a:schemeClr val="bg1"/>
                </a:solidFill>
                <a:latin typeface="+mn-lt"/>
              </a:defRPr>
            </a:lvl1pPr>
          </a:lstStyle>
          <a:p>
            <a:endParaRPr lang="ru-RU" dirty="0"/>
          </a:p>
        </p:txBody>
      </p:sp>
      <p:sp>
        <p:nvSpPr>
          <p:cNvPr id="6" name="TextBox 1">
            <a:extLst>
              <a:ext uri="{FF2B5EF4-FFF2-40B4-BE49-F238E27FC236}">
                <a16:creationId xmlns:a16="http://schemas.microsoft.com/office/drawing/2014/main" id="{A5DEEA38-551D-E005-1077-DE259DF3BFBC}"/>
              </a:ext>
            </a:extLst>
          </p:cNvPr>
          <p:cNvSpPr>
            <a:spLocks noAdjustHandles="1"/>
          </p:cNvSpPr>
          <p:nvPr userDrawn="1"/>
        </p:nvSpPr>
        <p:spPr bwMode="auto">
          <a:xfrm>
            <a:off x="23014684" y="12996656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defRPr/>
            </a:pPr>
            <a:fld id="{BE3D2F9B-EE15-BC4D-95C9-0CB8D6880064}" type="slidenum">
              <a:rPr lang="ru-RU" sz="1800" b="0" i="0">
                <a:solidFill>
                  <a:schemeClr val="bg1"/>
                </a:solidFill>
                <a:latin typeface="+mn-lt"/>
              </a:rPr>
              <a:pPr algn="r">
                <a:defRPr/>
              </a:pPr>
              <a:t>‹#›</a:t>
            </a:fld>
            <a:endParaRPr lang="ru-RU" sz="1800" b="0" i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322160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C0E1020-5692-B545-AA21-2B3AE4D6F2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8138021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C0E1020-5692-B545-AA21-2B3AE4D6F2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587600" y="547141"/>
            <a:ext cx="21232812" cy="2554323"/>
          </a:xfrm>
          <a:prstGeom prst="rect">
            <a:avLst/>
          </a:prstGeom>
        </p:spPr>
        <p:txBody>
          <a:bodyPr vert="horz" lIns="0" tIns="198000" rIns="0" bIns="0" rtlCol="0" anchor="t">
            <a:noAutofit/>
          </a:bodyPr>
          <a:lstStyle/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BC3F319-CB6A-0040-BDC7-A396100DD8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87600" y="3651250"/>
            <a:ext cx="21232812" cy="87026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65777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9" r:id="rId1"/>
    <p:sldLayoutId id="2147484094" r:id="rId2"/>
    <p:sldLayoutId id="2147484084" r:id="rId3"/>
    <p:sldLayoutId id="2147484053" r:id="rId4"/>
    <p:sldLayoutId id="2147484108" r:id="rId5"/>
    <p:sldLayoutId id="2147484082" r:id="rId6"/>
    <p:sldLayoutId id="2147484066" r:id="rId7"/>
    <p:sldLayoutId id="2147484067" r:id="rId8"/>
    <p:sldLayoutId id="2147484091" r:id="rId9"/>
    <p:sldLayoutId id="2147484092" r:id="rId10"/>
    <p:sldLayoutId id="2147484093" r:id="rId11"/>
    <p:sldLayoutId id="2147484056" r:id="rId12"/>
  </p:sldLayoutIdLst>
  <p:hf hdr="0" dt="0"/>
  <p:txStyles>
    <p:titleStyle>
      <a:lvl1pPr marL="0" algn="l" defTabSz="1828619" rtl="0" eaLnBrk="1" latinLnBrk="0" hangingPunct="1">
        <a:lnSpc>
          <a:spcPct val="80000"/>
        </a:lnSpc>
        <a:spcBef>
          <a:spcPct val="0"/>
        </a:spcBef>
        <a:buNone/>
        <a:defRPr sz="8000" b="0" i="0" kern="1200">
          <a:solidFill>
            <a:schemeClr val="tx1"/>
          </a:solidFill>
          <a:latin typeface="+mj-lt"/>
          <a:ea typeface="+mj-ea"/>
          <a:cs typeface="YS Display Cond" pitchFamily="2" charset="0"/>
        </a:defRPr>
      </a:lvl1pPr>
    </p:titleStyle>
    <p:bodyStyle>
      <a:lvl1pPr marL="0" indent="0" algn="l" defTabSz="1828619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Tx/>
        <a:buNone/>
        <a:defRPr sz="3200" b="0" i="0" kern="1200">
          <a:solidFill>
            <a:schemeClr val="tx1"/>
          </a:solidFill>
          <a:latin typeface="YS Text Regular" pitchFamily="2" charset="0"/>
          <a:ea typeface="+mn-ea"/>
          <a:cs typeface="YS Text Regular" pitchFamily="2" charset="0"/>
        </a:defRPr>
      </a:lvl1pPr>
      <a:lvl2pPr marL="36" marR="0" indent="0" algn="l" defTabSz="1907905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20000"/>
        <a:buFont typeface="Arial Unicode MS" panose="020B0604020202020204" pitchFamily="34" charset="-128"/>
        <a:buNone/>
        <a:tabLst/>
        <a:defRPr sz="3200" b="0" i="0" kern="1200" baseline="0">
          <a:solidFill>
            <a:schemeClr val="tx1"/>
          </a:solidFill>
          <a:latin typeface="YS Text Regular" pitchFamily="2" charset="0"/>
          <a:ea typeface="+mn-ea"/>
          <a:cs typeface="YS Text Regular" pitchFamily="2" charset="0"/>
        </a:defRPr>
      </a:lvl2pPr>
      <a:lvl3pPr marL="461237" marR="0" indent="-457200" algn="l" defTabSz="1828619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sz="3200" b="0" i="0" kern="1200">
          <a:solidFill>
            <a:schemeClr val="tx1"/>
          </a:solidFill>
          <a:latin typeface="YS Text Regular" pitchFamily="2" charset="0"/>
          <a:ea typeface="+mn-ea"/>
          <a:cs typeface="YS Text Regular" pitchFamily="2" charset="0"/>
        </a:defRPr>
      </a:lvl3pPr>
      <a:lvl4pPr marL="1080000" indent="-457200" algn="l" defTabSz="1828619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System Font Regular"/>
        <a:buChar char="−"/>
        <a:tabLst/>
        <a:defRPr sz="3200" b="0" i="0" kern="1200">
          <a:solidFill>
            <a:schemeClr val="tx1"/>
          </a:solidFill>
          <a:latin typeface="YS Text Regular" pitchFamily="2" charset="0"/>
          <a:ea typeface="+mn-ea"/>
          <a:cs typeface="YS Text Regular" pitchFamily="2" charset="0"/>
        </a:defRPr>
      </a:lvl4pPr>
      <a:lvl5pPr marL="0" indent="0" algn="l" defTabSz="1828619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Tx/>
        <a:buNone/>
        <a:defRPr sz="3200" b="0" i="0" kern="1200" baseline="0">
          <a:solidFill>
            <a:schemeClr val="tx1"/>
          </a:solidFill>
          <a:latin typeface="YS Text Regular" pitchFamily="2" charset="0"/>
          <a:ea typeface="+mn-ea"/>
          <a:cs typeface="YS Text Regular" pitchFamily="2" charset="0"/>
        </a:defRPr>
      </a:lvl5pPr>
      <a:lvl6pPr marL="5028699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007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315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1623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08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619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927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235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543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852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160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467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762">
          <p15:clr>
            <a:srgbClr val="F26B43"/>
          </p15:clr>
        </p15:guide>
        <p15:guide id="2" pos="6531">
          <p15:clr>
            <a:srgbClr val="F26B43"/>
          </p15:clr>
        </p15:guide>
        <p15:guide id="3" pos="6298">
          <p15:clr>
            <a:srgbClr val="F26B43"/>
          </p15:clr>
        </p15:guide>
        <p15:guide id="4" pos="6067">
          <p15:clr>
            <a:srgbClr val="F26B43"/>
          </p15:clr>
        </p15:guide>
        <p15:guide id="5" pos="5834">
          <p15:clr>
            <a:srgbClr val="F26B43"/>
          </p15:clr>
        </p15:guide>
        <p15:guide id="6" pos="5603">
          <p15:clr>
            <a:srgbClr val="F26B43"/>
          </p15:clr>
        </p15:guide>
        <p15:guide id="8" pos="5148">
          <p15:clr>
            <a:srgbClr val="F26B43"/>
          </p15:clr>
        </p15:guide>
        <p15:guide id="9" pos="4915">
          <p15:clr>
            <a:srgbClr val="F26B43"/>
          </p15:clr>
        </p15:guide>
        <p15:guide id="10" pos="4682">
          <p15:clr>
            <a:srgbClr val="F26B43"/>
          </p15:clr>
        </p15:guide>
        <p15:guide id="11" pos="4451">
          <p15:clr>
            <a:srgbClr val="F26B43"/>
          </p15:clr>
        </p15:guide>
        <p15:guide id="12" pos="4218">
          <p15:clr>
            <a:srgbClr val="F26B43"/>
          </p15:clr>
        </p15:guide>
        <p15:guide id="13" pos="3763">
          <p15:clr>
            <a:srgbClr val="F26B43"/>
          </p15:clr>
        </p15:guide>
        <p15:guide id="14" pos="3994">
          <p15:clr>
            <a:srgbClr val="F26B43"/>
          </p15:clr>
        </p15:guide>
        <p15:guide id="15" pos="3530">
          <p15:clr>
            <a:srgbClr val="F26B43"/>
          </p15:clr>
        </p15:guide>
        <p15:guide id="16" pos="3299">
          <p15:clr>
            <a:srgbClr val="F26B43"/>
          </p15:clr>
        </p15:guide>
        <p15:guide id="17" pos="2835">
          <p15:clr>
            <a:srgbClr val="F26B43"/>
          </p15:clr>
        </p15:guide>
        <p15:guide id="19" pos="2611">
          <p15:clr>
            <a:srgbClr val="F26B43"/>
          </p15:clr>
        </p15:guide>
        <p15:guide id="20" pos="2378">
          <p15:clr>
            <a:srgbClr val="F26B43"/>
          </p15:clr>
        </p15:guide>
        <p15:guide id="21" pos="2123" userDrawn="1">
          <p15:clr>
            <a:srgbClr val="F26B43"/>
          </p15:clr>
        </p15:guide>
        <p15:guide id="25" pos="6986">
          <p15:clr>
            <a:srgbClr val="F26B43"/>
          </p15:clr>
        </p15:guide>
        <p15:guide id="27" pos="7219">
          <p15:clr>
            <a:srgbClr val="F26B43"/>
          </p15:clr>
        </p15:guide>
        <p15:guide id="29" pos="7913">
          <p15:clr>
            <a:srgbClr val="F26B43"/>
          </p15:clr>
        </p15:guide>
        <p15:guide id="30" pos="8146">
          <p15:clr>
            <a:srgbClr val="F26B43"/>
          </p15:clr>
        </p15:guide>
        <p15:guide id="31" pos="8372">
          <p15:clr>
            <a:srgbClr val="F26B43"/>
          </p15:clr>
        </p15:guide>
        <p15:guide id="32" pos="8602">
          <p15:clr>
            <a:srgbClr val="F26B43"/>
          </p15:clr>
        </p15:guide>
        <p15:guide id="33" pos="9529">
          <p15:clr>
            <a:srgbClr val="F26B43"/>
          </p15:clr>
        </p15:guide>
        <p15:guide id="34" pos="8834">
          <p15:clr>
            <a:srgbClr val="F26B43"/>
          </p15:clr>
        </p15:guide>
        <p15:guide id="35" pos="9754">
          <p15:clr>
            <a:srgbClr val="F26B43"/>
          </p15:clr>
        </p15:guide>
        <p15:guide id="36" pos="10681">
          <p15:clr>
            <a:srgbClr val="F26B43"/>
          </p15:clr>
        </p15:guide>
        <p15:guide id="38" pos="10218">
          <p15:clr>
            <a:srgbClr val="F26B43"/>
          </p15:clr>
        </p15:guide>
        <p15:guide id="39" pos="12522">
          <p15:clr>
            <a:srgbClr val="F26B43"/>
          </p15:clr>
        </p15:guide>
        <p15:guide id="40" pos="10450">
          <p15:clr>
            <a:srgbClr val="F26B43"/>
          </p15:clr>
        </p15:guide>
        <p15:guide id="41" pos="10909" userDrawn="1">
          <p15:clr>
            <a:srgbClr val="F26B43"/>
          </p15:clr>
        </p15:guide>
        <p15:guide id="42" pos="11138">
          <p15:clr>
            <a:srgbClr val="F26B43"/>
          </p15:clr>
        </p15:guide>
        <p15:guide id="44" pos="11370">
          <p15:clr>
            <a:srgbClr val="F26B43"/>
          </p15:clr>
        </p15:guide>
        <p15:guide id="45" pos="11602">
          <p15:clr>
            <a:srgbClr val="F26B43"/>
          </p15:clr>
        </p15:guide>
        <p15:guide id="47" pos="11833">
          <p15:clr>
            <a:srgbClr val="F26B43"/>
          </p15:clr>
        </p15:guide>
        <p15:guide id="48" orient="horz" pos="4260">
          <p15:clr>
            <a:srgbClr val="F26B43"/>
          </p15:clr>
        </p15:guide>
        <p15:guide id="49" orient="horz" pos="4027">
          <p15:clr>
            <a:srgbClr val="F26B43"/>
          </p15:clr>
        </p15:guide>
        <p15:guide id="50" orient="horz" pos="3796" userDrawn="1">
          <p15:clr>
            <a:srgbClr val="F26B43"/>
          </p15:clr>
        </p15:guide>
        <p15:guide id="51" orient="horz" pos="3107" userDrawn="1">
          <p15:clr>
            <a:srgbClr val="F26B43"/>
          </p15:clr>
        </p15:guide>
        <p15:guide id="52" orient="horz" pos="2875" userDrawn="1">
          <p15:clr>
            <a:srgbClr val="F26B43"/>
          </p15:clr>
        </p15:guide>
        <p15:guide id="53" orient="horz" pos="2641">
          <p15:clr>
            <a:srgbClr val="F26B43"/>
          </p15:clr>
        </p15:guide>
        <p15:guide id="54" orient="horz" pos="2408" userDrawn="1">
          <p15:clr>
            <a:srgbClr val="F26B43"/>
          </p15:clr>
        </p15:guide>
        <p15:guide id="57" orient="horz" pos="1723">
          <p15:clr>
            <a:srgbClr val="F26B43"/>
          </p15:clr>
        </p15:guide>
        <p15:guide id="62" orient="horz" pos="4494">
          <p15:clr>
            <a:srgbClr val="F26B43"/>
          </p15:clr>
        </p15:guide>
        <p15:guide id="63" orient="horz" pos="4722">
          <p15:clr>
            <a:srgbClr val="F26B43"/>
          </p15:clr>
        </p15:guide>
        <p15:guide id="64" orient="horz" pos="5179">
          <p15:clr>
            <a:srgbClr val="F26B43"/>
          </p15:clr>
        </p15:guide>
        <p15:guide id="65" orient="horz" pos="5412">
          <p15:clr>
            <a:srgbClr val="F26B43"/>
          </p15:clr>
        </p15:guide>
        <p15:guide id="66" orient="horz" pos="5635" userDrawn="1">
          <p15:clr>
            <a:srgbClr val="F26B43"/>
          </p15:clr>
        </p15:guide>
        <p15:guide id="67" orient="horz" pos="5874">
          <p15:clr>
            <a:srgbClr val="F26B43"/>
          </p15:clr>
        </p15:guide>
        <p15:guide id="68" orient="horz" pos="6097">
          <p15:clr>
            <a:srgbClr val="F26B43"/>
          </p15:clr>
        </p15:guide>
        <p15:guide id="69" orient="horz" pos="6331">
          <p15:clr>
            <a:srgbClr val="F26B43"/>
          </p15:clr>
        </p15:guide>
        <p15:guide id="70" orient="horz" pos="6564">
          <p15:clr>
            <a:srgbClr val="F26B43"/>
          </p15:clr>
        </p15:guide>
        <p15:guide id="71" orient="horz" pos="6792">
          <p15:clr>
            <a:srgbClr val="F26B43"/>
          </p15:clr>
        </p15:guide>
        <p15:guide id="72" orient="horz" pos="7483">
          <p15:clr>
            <a:srgbClr val="F26B43"/>
          </p15:clr>
        </p15:guide>
        <p15:guide id="73" orient="horz" pos="7254">
          <p15:clr>
            <a:srgbClr val="F26B43"/>
          </p15:clr>
        </p15:guide>
        <p15:guide id="74" orient="horz" pos="7026">
          <p15:clr>
            <a:srgbClr val="F26B43"/>
          </p15:clr>
        </p15:guide>
        <p15:guide id="75" pos="7450">
          <p15:clr>
            <a:srgbClr val="F26B43"/>
          </p15:clr>
        </p15:guide>
        <p15:guide id="76" orient="horz" pos="3559">
          <p15:clr>
            <a:srgbClr val="F26B43"/>
          </p15:clr>
        </p15:guide>
        <p15:guide id="77" orient="horz" pos="3338" userDrawn="1">
          <p15:clr>
            <a:srgbClr val="F26B43"/>
          </p15:clr>
        </p15:guide>
        <p15:guide id="78" orient="horz" pos="4945">
          <p15:clr>
            <a:srgbClr val="F26B43"/>
          </p15:clr>
        </p15:guide>
        <p15:guide id="79" pos="1912" userDrawn="1">
          <p15:clr>
            <a:srgbClr val="F26B43"/>
          </p15:clr>
        </p15:guide>
        <p15:guide id="80" pos="1681" userDrawn="1">
          <p15:clr>
            <a:srgbClr val="F26B43"/>
          </p15:clr>
        </p15:guide>
        <p15:guide id="81" pos="1450">
          <p15:clr>
            <a:srgbClr val="F26B43"/>
          </p15:clr>
        </p15:guide>
        <p15:guide id="87" pos="12065">
          <p15:clr>
            <a:srgbClr val="F26B43"/>
          </p15:clr>
        </p15:guide>
        <p15:guide id="89" pos="12754">
          <p15:clr>
            <a:srgbClr val="F26B43"/>
          </p15:clr>
        </p15:guide>
        <p15:guide id="90" pos="12985">
          <p15:clr>
            <a:srgbClr val="F26B43"/>
          </p15:clr>
        </p15:guide>
        <p15:guide id="92" pos="13217">
          <p15:clr>
            <a:srgbClr val="F26B43"/>
          </p15:clr>
        </p15:guide>
        <p15:guide id="93" orient="horz" pos="793">
          <p15:clr>
            <a:srgbClr val="F26B43"/>
          </p15:clr>
        </p15:guide>
        <p15:guide id="94" pos="13449">
          <p15:clr>
            <a:srgbClr val="F26B43"/>
          </p15:clr>
        </p15:guide>
        <p15:guide id="95" pos="13681">
          <p15:clr>
            <a:srgbClr val="F26B43"/>
          </p15:clr>
        </p15:guide>
        <p15:guide id="96" pos="13906">
          <p15:clr>
            <a:srgbClr val="F26B43"/>
          </p15:clr>
        </p15:guide>
        <p15:guide id="97" pos="14141">
          <p15:clr>
            <a:srgbClr val="F26B43"/>
          </p15:clr>
        </p15:guide>
        <p15:guide id="101" pos="9066">
          <p15:clr>
            <a:srgbClr val="F26B43"/>
          </p15:clr>
        </p15:guide>
        <p15:guide id="102" pos="9298">
          <p15:clr>
            <a:srgbClr val="F26B43"/>
          </p15:clr>
        </p15:guide>
        <p15:guide id="104" orient="horz" pos="1261">
          <p15:clr>
            <a:srgbClr val="F26B43"/>
          </p15:clr>
        </p15:guide>
        <p15:guide id="108" orient="horz" pos="7716">
          <p15:clr>
            <a:srgbClr val="F26B43"/>
          </p15:clr>
        </p15:guide>
        <p15:guide id="109" orient="horz" pos="1027">
          <p15:clr>
            <a:srgbClr val="F26B43"/>
          </p15:clr>
        </p15:guide>
        <p15:guide id="111" orient="horz" pos="1494">
          <p15:clr>
            <a:srgbClr val="F26B43"/>
          </p15:clr>
        </p15:guide>
        <p15:guide id="112" pos="1226">
          <p15:clr>
            <a:srgbClr val="F26B43"/>
          </p15:clr>
        </p15:guide>
        <p15:guide id="113" pos="995">
          <p15:clr>
            <a:srgbClr val="F26B43"/>
          </p15:clr>
        </p15:guide>
        <p15:guide id="118" orient="horz" pos="2177" userDrawn="1">
          <p15:clr>
            <a:srgbClr val="F26B43"/>
          </p15:clr>
        </p15:guide>
        <p15:guide id="122" pos="14370">
          <p15:clr>
            <a:srgbClr val="F26B43"/>
          </p15:clr>
        </p15:guide>
        <p15:guide id="123" orient="horz" pos="571">
          <p15:clr>
            <a:srgbClr val="F26B43"/>
          </p15:clr>
        </p15:guide>
        <p15:guide id="124" orient="horz" pos="8178">
          <p15:clr>
            <a:srgbClr val="F26B43"/>
          </p15:clr>
        </p15:guide>
        <p15:guide id="125" orient="horz" pos="7946" userDrawn="1">
          <p15:clr>
            <a:srgbClr val="F26B43"/>
          </p15:clr>
        </p15:guide>
        <p15:guide id="126" orient="horz" pos="195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microsoft.com/office/2007/relationships/hdphoto" Target="../media/hdphoto1.wdp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4.svg"/><Relationship Id="rId12" Type="http://schemas.openxmlformats.org/officeDocument/2006/relationships/image" Target="../media/image42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4.xml"/><Relationship Id="rId6" Type="http://schemas.openxmlformats.org/officeDocument/2006/relationships/image" Target="../media/image3.png"/><Relationship Id="rId11" Type="http://schemas.openxmlformats.org/officeDocument/2006/relationships/image" Target="../media/image41.png"/><Relationship Id="rId5" Type="http://schemas.openxmlformats.org/officeDocument/2006/relationships/image" Target="../media/image18.emf"/><Relationship Id="rId10" Type="http://schemas.openxmlformats.org/officeDocument/2006/relationships/image" Target="../media/image40.png"/><Relationship Id="rId4" Type="http://schemas.openxmlformats.org/officeDocument/2006/relationships/oleObject" Target="../embeddings/oleObject17.bin"/><Relationship Id="rId9" Type="http://schemas.openxmlformats.org/officeDocument/2006/relationships/image" Target="../media/image39.png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media" Target="../media/media1.mp4"/><Relationship Id="rId7" Type="http://schemas.openxmlformats.org/officeDocument/2006/relationships/image" Target="../media/image43.png"/><Relationship Id="rId2" Type="http://schemas.openxmlformats.org/officeDocument/2006/relationships/video" Target="NULL" TargetMode="External"/><Relationship Id="rId1" Type="http://schemas.openxmlformats.org/officeDocument/2006/relationships/tags" Target="../tags/tag25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oleObject" Target="../embeddings/oleObject19.bin"/><Relationship Id="rId7" Type="http://schemas.openxmlformats.org/officeDocument/2006/relationships/image" Target="../media/image46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6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18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13" Type="http://schemas.openxmlformats.org/officeDocument/2006/relationships/image" Target="../media/image48.sv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4.svg"/><Relationship Id="rId12" Type="http://schemas.openxmlformats.org/officeDocument/2006/relationships/image" Target="../media/image47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7.xml"/><Relationship Id="rId6" Type="http://schemas.openxmlformats.org/officeDocument/2006/relationships/image" Target="../media/image3.png"/><Relationship Id="rId11" Type="http://schemas.openxmlformats.org/officeDocument/2006/relationships/chart" Target="../charts/chart4.xml"/><Relationship Id="rId5" Type="http://schemas.openxmlformats.org/officeDocument/2006/relationships/image" Target="../media/image18.emf"/><Relationship Id="rId15" Type="http://schemas.openxmlformats.org/officeDocument/2006/relationships/image" Target="../media/image45.png"/><Relationship Id="rId10" Type="http://schemas.openxmlformats.org/officeDocument/2006/relationships/chart" Target="../charts/chart3.xml"/><Relationship Id="rId4" Type="http://schemas.openxmlformats.org/officeDocument/2006/relationships/oleObject" Target="../embeddings/oleObject20.bin"/><Relationship Id="rId9" Type="http://schemas.openxmlformats.org/officeDocument/2006/relationships/chart" Target="../charts/chart2.xml"/><Relationship Id="rId14" Type="http://schemas.openxmlformats.org/officeDocument/2006/relationships/image" Target="../media/image4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svg"/><Relationship Id="rId13" Type="http://schemas.openxmlformats.org/officeDocument/2006/relationships/image" Target="../media/image3.png"/><Relationship Id="rId3" Type="http://schemas.openxmlformats.org/officeDocument/2006/relationships/oleObject" Target="../embeddings/oleObject21.bin"/><Relationship Id="rId7" Type="http://schemas.openxmlformats.org/officeDocument/2006/relationships/image" Target="../media/image52.png"/><Relationship Id="rId12" Type="http://schemas.openxmlformats.org/officeDocument/2006/relationships/image" Target="../media/image57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8.xml"/><Relationship Id="rId6" Type="http://schemas.openxmlformats.org/officeDocument/2006/relationships/image" Target="../media/image51.png"/><Relationship Id="rId11" Type="http://schemas.openxmlformats.org/officeDocument/2006/relationships/image" Target="../media/image56.png"/><Relationship Id="rId5" Type="http://schemas.openxmlformats.org/officeDocument/2006/relationships/image" Target="../media/image50.png"/><Relationship Id="rId10" Type="http://schemas.openxmlformats.org/officeDocument/2006/relationships/image" Target="../media/image55.svg"/><Relationship Id="rId4" Type="http://schemas.openxmlformats.org/officeDocument/2006/relationships/image" Target="../media/image18.emf"/><Relationship Id="rId9" Type="http://schemas.openxmlformats.org/officeDocument/2006/relationships/image" Target="../media/image54.png"/><Relationship Id="rId14" Type="http://schemas.openxmlformats.org/officeDocument/2006/relationships/image" Target="../media/image4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59.png"/><Relationship Id="rId12" Type="http://schemas.openxmlformats.org/officeDocument/2006/relationships/image" Target="../media/image46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9.xml"/><Relationship Id="rId6" Type="http://schemas.openxmlformats.org/officeDocument/2006/relationships/image" Target="../media/image58.png"/><Relationship Id="rId11" Type="http://schemas.openxmlformats.org/officeDocument/2006/relationships/image" Target="../media/image49.png"/><Relationship Id="rId5" Type="http://schemas.openxmlformats.org/officeDocument/2006/relationships/image" Target="../media/image18.emf"/><Relationship Id="rId10" Type="http://schemas.openxmlformats.org/officeDocument/2006/relationships/image" Target="../media/image4.svg"/><Relationship Id="rId4" Type="http://schemas.openxmlformats.org/officeDocument/2006/relationships/oleObject" Target="../embeddings/oleObject22.bin"/><Relationship Id="rId9" Type="http://schemas.openxmlformats.org/officeDocument/2006/relationships/image" Target="../media/image3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oleObject" Target="../embeddings/oleObject19.bin"/><Relationship Id="rId7" Type="http://schemas.openxmlformats.org/officeDocument/2006/relationships/image" Target="../media/image62.jp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0.xml"/><Relationship Id="rId6" Type="http://schemas.openxmlformats.org/officeDocument/2006/relationships/image" Target="../media/image61.jpg"/><Relationship Id="rId11" Type="http://schemas.openxmlformats.org/officeDocument/2006/relationships/image" Target="../media/image4.svg"/><Relationship Id="rId5" Type="http://schemas.openxmlformats.org/officeDocument/2006/relationships/image" Target="../media/image60.jpg"/><Relationship Id="rId10" Type="http://schemas.openxmlformats.org/officeDocument/2006/relationships/image" Target="../media/image3.png"/><Relationship Id="rId4" Type="http://schemas.openxmlformats.org/officeDocument/2006/relationships/image" Target="../media/image18.emf"/><Relationship Id="rId9" Type="http://schemas.openxmlformats.org/officeDocument/2006/relationships/image" Target="../media/image64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13" Type="http://schemas.openxmlformats.org/officeDocument/2006/relationships/image" Target="../media/image68.sv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4.svg"/><Relationship Id="rId12" Type="http://schemas.openxmlformats.org/officeDocument/2006/relationships/image" Target="../media/image67.png"/><Relationship Id="rId17" Type="http://schemas.openxmlformats.org/officeDocument/2006/relationships/image" Target="../media/image72.png"/><Relationship Id="rId2" Type="http://schemas.openxmlformats.org/officeDocument/2006/relationships/slideLayout" Target="../slideLayouts/slideLayout9.xml"/><Relationship Id="rId16" Type="http://schemas.openxmlformats.org/officeDocument/2006/relationships/image" Target="../media/image71.png"/><Relationship Id="rId1" Type="http://schemas.openxmlformats.org/officeDocument/2006/relationships/tags" Target="../tags/tag31.xml"/><Relationship Id="rId6" Type="http://schemas.openxmlformats.org/officeDocument/2006/relationships/image" Target="../media/image3.png"/><Relationship Id="rId11" Type="http://schemas.openxmlformats.org/officeDocument/2006/relationships/image" Target="../media/image66.svg"/><Relationship Id="rId5" Type="http://schemas.openxmlformats.org/officeDocument/2006/relationships/image" Target="../media/image18.emf"/><Relationship Id="rId15" Type="http://schemas.openxmlformats.org/officeDocument/2006/relationships/image" Target="../media/image70.png"/><Relationship Id="rId10" Type="http://schemas.openxmlformats.org/officeDocument/2006/relationships/image" Target="../media/image65.png"/><Relationship Id="rId4" Type="http://schemas.openxmlformats.org/officeDocument/2006/relationships/oleObject" Target="../embeddings/oleObject23.bin"/><Relationship Id="rId9" Type="http://schemas.openxmlformats.org/officeDocument/2006/relationships/image" Target="../media/image44.png"/><Relationship Id="rId14" Type="http://schemas.openxmlformats.org/officeDocument/2006/relationships/image" Target="../media/image69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13" Type="http://schemas.openxmlformats.org/officeDocument/2006/relationships/image" Target="../media/image78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4.svg"/><Relationship Id="rId12" Type="http://schemas.openxmlformats.org/officeDocument/2006/relationships/image" Target="../media/image77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2.xml"/><Relationship Id="rId6" Type="http://schemas.openxmlformats.org/officeDocument/2006/relationships/image" Target="../media/image3.png"/><Relationship Id="rId11" Type="http://schemas.openxmlformats.org/officeDocument/2006/relationships/image" Target="../media/image76.png"/><Relationship Id="rId5" Type="http://schemas.openxmlformats.org/officeDocument/2006/relationships/image" Target="../media/image18.emf"/><Relationship Id="rId15" Type="http://schemas.openxmlformats.org/officeDocument/2006/relationships/image" Target="../media/image57.svg"/><Relationship Id="rId10" Type="http://schemas.openxmlformats.org/officeDocument/2006/relationships/image" Target="../media/image75.png"/><Relationship Id="rId4" Type="http://schemas.openxmlformats.org/officeDocument/2006/relationships/oleObject" Target="../embeddings/oleObject19.bin"/><Relationship Id="rId9" Type="http://schemas.openxmlformats.org/officeDocument/2006/relationships/image" Target="../media/image74.png"/><Relationship Id="rId14" Type="http://schemas.openxmlformats.org/officeDocument/2006/relationships/image" Target="../media/image56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13" Type="http://schemas.openxmlformats.org/officeDocument/2006/relationships/image" Target="../media/image66.sv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80.png"/><Relationship Id="rId12" Type="http://schemas.openxmlformats.org/officeDocument/2006/relationships/image" Target="../media/image65.png"/><Relationship Id="rId17" Type="http://schemas.openxmlformats.org/officeDocument/2006/relationships/image" Target="../media/image68.svg"/><Relationship Id="rId2" Type="http://schemas.openxmlformats.org/officeDocument/2006/relationships/slideLayout" Target="../slideLayouts/slideLayout9.xml"/><Relationship Id="rId16" Type="http://schemas.openxmlformats.org/officeDocument/2006/relationships/image" Target="../media/image67.png"/><Relationship Id="rId1" Type="http://schemas.openxmlformats.org/officeDocument/2006/relationships/tags" Target="../tags/tag33.xml"/><Relationship Id="rId6" Type="http://schemas.openxmlformats.org/officeDocument/2006/relationships/image" Target="../media/image79.png"/><Relationship Id="rId11" Type="http://schemas.openxmlformats.org/officeDocument/2006/relationships/image" Target="../media/image34.png"/><Relationship Id="rId5" Type="http://schemas.openxmlformats.org/officeDocument/2006/relationships/image" Target="../media/image18.emf"/><Relationship Id="rId15" Type="http://schemas.openxmlformats.org/officeDocument/2006/relationships/image" Target="../media/image84.svg"/><Relationship Id="rId10" Type="http://schemas.openxmlformats.org/officeDocument/2006/relationships/image" Target="../media/image82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9.png"/><Relationship Id="rId14" Type="http://schemas.openxmlformats.org/officeDocument/2006/relationships/image" Target="../media/image8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6.xml"/><Relationship Id="rId6" Type="http://schemas.openxmlformats.org/officeDocument/2006/relationships/image" Target="../media/image21.png"/><Relationship Id="rId5" Type="http://schemas.openxmlformats.org/officeDocument/2006/relationships/image" Target="../media/image18.emf"/><Relationship Id="rId10" Type="http://schemas.openxmlformats.org/officeDocument/2006/relationships/image" Target="../media/image23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22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67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82.png"/><Relationship Id="rId12" Type="http://schemas.openxmlformats.org/officeDocument/2006/relationships/image" Target="../media/image84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4.xml"/><Relationship Id="rId6" Type="http://schemas.openxmlformats.org/officeDocument/2006/relationships/image" Target="../media/image19.png"/><Relationship Id="rId11" Type="http://schemas.openxmlformats.org/officeDocument/2006/relationships/image" Target="../media/image83.png"/><Relationship Id="rId5" Type="http://schemas.openxmlformats.org/officeDocument/2006/relationships/image" Target="../media/image18.emf"/><Relationship Id="rId15" Type="http://schemas.openxmlformats.org/officeDocument/2006/relationships/image" Target="../media/image85.png"/><Relationship Id="rId10" Type="http://schemas.openxmlformats.org/officeDocument/2006/relationships/image" Target="../media/image66.svg"/><Relationship Id="rId4" Type="http://schemas.openxmlformats.org/officeDocument/2006/relationships/oleObject" Target="../embeddings/oleObject24.bin"/><Relationship Id="rId9" Type="http://schemas.openxmlformats.org/officeDocument/2006/relationships/image" Target="../media/image65.png"/><Relationship Id="rId14" Type="http://schemas.openxmlformats.org/officeDocument/2006/relationships/image" Target="../media/image68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85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5.xml"/><Relationship Id="rId6" Type="http://schemas.openxmlformats.org/officeDocument/2006/relationships/image" Target="../media/image19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4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6.xml"/><Relationship Id="rId5" Type="http://schemas.openxmlformats.org/officeDocument/2006/relationships/image" Target="../media/image17.png"/><Relationship Id="rId4" Type="http://schemas.openxmlformats.org/officeDocument/2006/relationships/image" Target="../media/image18.emf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jpeg"/><Relationship Id="rId3" Type="http://schemas.microsoft.com/office/2007/relationships/media" Target="../media/media2.mp4"/><Relationship Id="rId7" Type="http://schemas.openxmlformats.org/officeDocument/2006/relationships/image" Target="../media/image18.emf"/><Relationship Id="rId2" Type="http://schemas.openxmlformats.org/officeDocument/2006/relationships/video" Target="NULL" TargetMode="External"/><Relationship Id="rId1" Type="http://schemas.openxmlformats.org/officeDocument/2006/relationships/tags" Target="../tags/tag37.xml"/><Relationship Id="rId6" Type="http://schemas.openxmlformats.org/officeDocument/2006/relationships/oleObject" Target="../embeddings/oleObject25.bin"/><Relationship Id="rId11" Type="http://schemas.openxmlformats.org/officeDocument/2006/relationships/image" Target="../media/image87.png"/><Relationship Id="rId5" Type="http://schemas.openxmlformats.org/officeDocument/2006/relationships/notesSlide" Target="../notesSlides/notesSlide14.xml"/><Relationship Id="rId10" Type="http://schemas.openxmlformats.org/officeDocument/2006/relationships/image" Target="../media/image4.sv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4.svg"/><Relationship Id="rId12" Type="http://schemas.openxmlformats.org/officeDocument/2006/relationships/image" Target="../media/image26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7.xml"/><Relationship Id="rId6" Type="http://schemas.openxmlformats.org/officeDocument/2006/relationships/image" Target="../media/image3.png"/><Relationship Id="rId11" Type="http://schemas.openxmlformats.org/officeDocument/2006/relationships/image" Target="../media/image25.png"/><Relationship Id="rId5" Type="http://schemas.openxmlformats.org/officeDocument/2006/relationships/image" Target="../media/image21.png"/><Relationship Id="rId10" Type="http://schemas.openxmlformats.org/officeDocument/2006/relationships/image" Target="../media/image24.png"/><Relationship Id="rId4" Type="http://schemas.openxmlformats.org/officeDocument/2006/relationships/image" Target="../media/image18.emf"/><Relationship Id="rId9" Type="http://schemas.openxmlformats.org/officeDocument/2006/relationships/image" Target="../media/image23.png"/><Relationship Id="rId14" Type="http://schemas.openxmlformats.org/officeDocument/2006/relationships/image" Target="../media/image2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8.xml"/><Relationship Id="rId5" Type="http://schemas.openxmlformats.org/officeDocument/2006/relationships/image" Target="../media/image29.jpeg"/><Relationship Id="rId4" Type="http://schemas.openxmlformats.org/officeDocument/2006/relationships/image" Target="../media/image18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7" Type="http://schemas.openxmlformats.org/officeDocument/2006/relationships/image" Target="../media/image4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9.xml"/><Relationship Id="rId6" Type="http://schemas.openxmlformats.org/officeDocument/2006/relationships/image" Target="../media/image3.png"/><Relationship Id="rId5" Type="http://schemas.openxmlformats.org/officeDocument/2006/relationships/image" Target="../media/image29.jpeg"/><Relationship Id="rId4" Type="http://schemas.openxmlformats.org/officeDocument/2006/relationships/image" Target="../media/image18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0.xml"/><Relationship Id="rId6" Type="http://schemas.openxmlformats.org/officeDocument/2006/relationships/image" Target="../media/image30.jpe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3.bin"/><Relationship Id="rId9" Type="http://schemas.openxmlformats.org/officeDocument/2006/relationships/image" Target="../media/image4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1.xml"/><Relationship Id="rId6" Type="http://schemas.openxmlformats.org/officeDocument/2006/relationships/image" Target="../media/image17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4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4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2.xml"/><Relationship Id="rId6" Type="http://schemas.openxmlformats.org/officeDocument/2006/relationships/image" Target="../media/image3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5.bin"/><Relationship Id="rId9" Type="http://schemas.openxmlformats.org/officeDocument/2006/relationships/image" Target="../media/image33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3.xml"/><Relationship Id="rId6" Type="http://schemas.openxmlformats.org/officeDocument/2006/relationships/image" Target="../media/image34.png"/><Relationship Id="rId11" Type="http://schemas.openxmlformats.org/officeDocument/2006/relationships/image" Target="../media/image37.png"/><Relationship Id="rId5" Type="http://schemas.openxmlformats.org/officeDocument/2006/relationships/image" Target="../media/image18.emf"/><Relationship Id="rId10" Type="http://schemas.openxmlformats.org/officeDocument/2006/relationships/image" Target="../media/image36.png"/><Relationship Id="rId4" Type="http://schemas.openxmlformats.org/officeDocument/2006/relationships/oleObject" Target="../embeddings/oleObject16.bin"/><Relationship Id="rId9" Type="http://schemas.openxmlformats.org/officeDocument/2006/relationships/image" Target="../media/image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6EC09A0-0A79-FA67-6AC0-75480A5F2F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4005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C71E9AC5-1E31-D5CB-2B8E-B145BD101D4A}"/>
              </a:ext>
            </a:extLst>
          </p:cNvPr>
          <p:cNvSpPr/>
          <p:nvPr/>
        </p:nvSpPr>
        <p:spPr>
          <a:xfrm>
            <a:off x="7416800" y="194903"/>
            <a:ext cx="16965613" cy="13521097"/>
          </a:xfrm>
          <a:prstGeom prst="rect">
            <a:avLst/>
          </a:prstGeom>
          <a:solidFill>
            <a:srgbClr val="292B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l"/>
            <a:endParaRPr lang="en-GB" sz="3200" dirty="0" err="1">
              <a:solidFill>
                <a:schemeClr val="tx1"/>
              </a:solidFill>
            </a:endParaRPr>
          </a:p>
        </p:txBody>
      </p:sp>
      <p:pic>
        <p:nvPicPr>
          <p:cNvPr id="19" name="Рисунок 51" descr="Изображение выглядит как снимок экрана, Прямоугольник, свет, искусство&#10;&#10;Содержимое, созданное искусственным интеллектом, может быть неверным.">
            <a:extLst>
              <a:ext uri="{FF2B5EF4-FFF2-40B4-BE49-F238E27FC236}">
                <a16:creationId xmlns:a16="http://schemas.microsoft.com/office/drawing/2014/main" id="{4ED1F954-9FD4-7BBE-A70F-CD98EC3C3DC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19" t="52380"/>
          <a:stretch/>
        </p:blipFill>
        <p:spPr>
          <a:xfrm rot="10800000" flipV="1">
            <a:off x="7199413" y="0"/>
            <a:ext cx="17183000" cy="622984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783AE8FE-BAAB-10C7-15B1-7C54DCA561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3132" y="2996709"/>
            <a:ext cx="9266868" cy="4344587"/>
          </a:xfrm>
        </p:spPr>
        <p:txBody>
          <a:bodyPr vert="horz"/>
          <a:lstStyle/>
          <a:p>
            <a:r>
              <a:rPr lang="ru-RU" sz="8800" dirty="0"/>
              <a:t>homo </a:t>
            </a:r>
            <a:r>
              <a:rPr lang="en-US" sz="8800" dirty="0"/>
              <a:t>intolerance</a:t>
            </a:r>
            <a:r>
              <a:rPr lang="ru-RU" sz="8800" dirty="0"/>
              <a:t>: новые нормы </a:t>
            </a:r>
            <a:br>
              <a:rPr lang="ru-RU" sz="8800" dirty="0"/>
            </a:br>
            <a:r>
              <a:rPr lang="ru-RU" sz="8800" dirty="0"/>
              <a:t>в культурном коде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87313701-3C85-E50A-1220-15D9552EF65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3000"/>
                    </a14:imgEffect>
                  </a14:imgLayer>
                </a14:imgProps>
              </a:ext>
            </a:extLst>
          </a:blip>
          <a:srcRect l="36366" t="5004"/>
          <a:stretch/>
        </p:blipFill>
        <p:spPr>
          <a:xfrm flipH="1">
            <a:off x="5170187" y="0"/>
            <a:ext cx="19212226" cy="13716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6C0ACBB-4A2B-54FC-248D-0F846F12A95C}"/>
              </a:ext>
            </a:extLst>
          </p:cNvPr>
          <p:cNvSpPr txBox="1"/>
          <p:nvPr/>
        </p:nvSpPr>
        <p:spPr>
          <a:xfrm>
            <a:off x="893132" y="11329547"/>
            <a:ext cx="8755743" cy="17235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4000" dirty="0">
                <a:solidFill>
                  <a:schemeClr val="bg1"/>
                </a:solidFill>
                <a:latin typeface="+mj-lt"/>
              </a:rPr>
              <a:t>Анна Тимохина, </a:t>
            </a:r>
            <a:br>
              <a:rPr lang="ru-RU" sz="4000" dirty="0">
                <a:solidFill>
                  <a:schemeClr val="bg1"/>
                </a:solidFill>
                <a:latin typeface="+mn-lt"/>
              </a:rPr>
            </a:br>
            <a:r>
              <a:rPr lang="ru-RU" sz="3600" dirty="0">
                <a:solidFill>
                  <a:schemeClr val="bg1"/>
                </a:solidFill>
                <a:latin typeface="YS Text Regular" pitchFamily="2" charset="-52"/>
              </a:rPr>
              <a:t>СМО Яндекс </a:t>
            </a:r>
            <a:r>
              <a:rPr lang="en-GB" sz="3600" dirty="0" err="1">
                <a:solidFill>
                  <a:schemeClr val="bg1"/>
                </a:solidFill>
              </a:rPr>
              <a:t>UrbanAds</a:t>
            </a:r>
            <a:r>
              <a:rPr lang="en-GB" sz="3600" dirty="0">
                <a:solidFill>
                  <a:schemeClr val="bg1"/>
                </a:solidFill>
              </a:rPr>
              <a:t>,</a:t>
            </a:r>
            <a:br>
              <a:rPr lang="en-GB" sz="3600" dirty="0">
                <a:solidFill>
                  <a:schemeClr val="bg1"/>
                </a:solidFill>
              </a:rPr>
            </a:br>
            <a:r>
              <a:rPr lang="ru-RU" sz="3600" dirty="0">
                <a:solidFill>
                  <a:schemeClr val="bg1"/>
                </a:solidFill>
              </a:rPr>
              <a:t>Яндекс Еда</a:t>
            </a:r>
            <a:endParaRPr lang="en-GB" sz="3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00728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3EDAB40-79FE-C102-98DA-5114ED39E1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731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EDAB40-79FE-C102-98DA-5114ED39E1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38918BEC-B06E-B30E-C417-98CBC578EB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2175" y="1681842"/>
            <a:ext cx="22598063" cy="1781898"/>
          </a:xfrm>
        </p:spPr>
        <p:txBody>
          <a:bodyPr vert="horz"/>
          <a:lstStyle/>
          <a:p>
            <a:r>
              <a:rPr lang="ru-RU" sz="7200" dirty="0">
                <a:solidFill>
                  <a:schemeClr val="accent1"/>
                </a:solidFill>
              </a:rPr>
              <a:t>готовые решения </a:t>
            </a:r>
            <a:r>
              <a:rPr lang="ru-RU" sz="7200" dirty="0"/>
              <a:t>вместо </a:t>
            </a:r>
            <a:br>
              <a:rPr lang="ru-RU" sz="7200" dirty="0"/>
            </a:br>
            <a:r>
              <a:rPr lang="ru-RU" sz="7200" dirty="0"/>
              <a:t>хаотичного выбора</a:t>
            </a:r>
          </a:p>
        </p:txBody>
      </p:sp>
      <p:pic>
        <p:nvPicPr>
          <p:cNvPr id="42" name="Graphic 41">
            <a:extLst>
              <a:ext uri="{FF2B5EF4-FFF2-40B4-BE49-F238E27FC236}">
                <a16:creationId xmlns:a16="http://schemas.microsoft.com/office/drawing/2014/main" id="{0DB7B54A-8020-0245-580D-B40BAED99AA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92175" y="584708"/>
            <a:ext cx="3089275" cy="450519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486C0A28-0DC9-8540-E629-437F0D45C2CD}"/>
              </a:ext>
            </a:extLst>
          </p:cNvPr>
          <p:cNvSpPr/>
          <p:nvPr/>
        </p:nvSpPr>
        <p:spPr>
          <a:xfrm>
            <a:off x="23180341" y="12630150"/>
            <a:ext cx="514350" cy="824073"/>
          </a:xfrm>
          <a:prstGeom prst="rect">
            <a:avLst/>
          </a:prstGeom>
          <a:solidFill>
            <a:srgbClr val="292B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l"/>
            <a:endParaRPr lang="en-GB" sz="3200" dirty="0" err="1">
              <a:solidFill>
                <a:schemeClr val="tx1"/>
              </a:solidFill>
            </a:endParaRPr>
          </a:p>
        </p:txBody>
      </p:sp>
      <p:pic>
        <p:nvPicPr>
          <p:cNvPr id="45" name="Рисунок 44" descr="Изображение выглядит как снимок экрана, свет, искусство, дизайн&#10;&#10;Содержимое, созданное искусственным интеллектом, может быть неверным.">
            <a:extLst>
              <a:ext uri="{FF2B5EF4-FFF2-40B4-BE49-F238E27FC236}">
                <a16:creationId xmlns:a16="http://schemas.microsoft.com/office/drawing/2014/main" id="{CA183B9B-C631-CE14-CA1D-DC8095BC899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185"/>
          <a:stretch/>
        </p:blipFill>
        <p:spPr>
          <a:xfrm rot="5400000">
            <a:off x="17764407" y="3400421"/>
            <a:ext cx="12178017" cy="8489537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87541D2B-3414-A3AC-7DA2-A4AA4CB68A28}"/>
              </a:ext>
            </a:extLst>
          </p:cNvPr>
          <p:cNvSpPr txBox="1"/>
          <p:nvPr/>
        </p:nvSpPr>
        <p:spPr>
          <a:xfrm>
            <a:off x="18990145" y="4580841"/>
            <a:ext cx="4110100" cy="984885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pPr algn="r"/>
            <a:r>
              <a:rPr lang="ru-RU" dirty="0"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bg1"/>
                    </a:gs>
                  </a:gsLst>
                  <a:lin ang="0" scaled="1"/>
                  <a:tileRect/>
                </a:gradFill>
              </a:rPr>
              <a:t>глобальное решение </a:t>
            </a:r>
            <a:br>
              <a:rPr lang="ru-RU" dirty="0"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bg1"/>
                    </a:gs>
                  </a:gsLst>
                  <a:lin ang="0" scaled="1"/>
                  <a:tileRect/>
                </a:gradFill>
              </a:rPr>
            </a:br>
            <a:r>
              <a:rPr lang="ru-RU" dirty="0"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bg1"/>
                    </a:gs>
                  </a:gsLst>
                  <a:lin ang="0" scaled="1"/>
                  <a:tileRect/>
                </a:gradFill>
              </a:rPr>
              <a:t>проблемы</a:t>
            </a:r>
          </a:p>
        </p:txBody>
      </p:sp>
      <p:sp>
        <p:nvSpPr>
          <p:cNvPr id="7" name="Скругленный прямоугольник 10">
            <a:extLst>
              <a:ext uri="{FF2B5EF4-FFF2-40B4-BE49-F238E27FC236}">
                <a16:creationId xmlns:a16="http://schemas.microsoft.com/office/drawing/2014/main" id="{9BDDF7E3-D36A-5E7C-4BB8-5DE16D0439DA}"/>
              </a:ext>
            </a:extLst>
          </p:cNvPr>
          <p:cNvSpPr/>
          <p:nvPr/>
        </p:nvSpPr>
        <p:spPr>
          <a:xfrm>
            <a:off x="14465313" y="8649488"/>
            <a:ext cx="7057181" cy="1669178"/>
          </a:xfrm>
          <a:prstGeom prst="roundRect">
            <a:avLst>
              <a:gd name="adj" fmla="val 23453"/>
            </a:avLst>
          </a:prstGeom>
          <a:solidFill>
            <a:schemeClr val="tx2">
              <a:alpha val="74777"/>
            </a:schemeClr>
          </a:solidFill>
          <a:ln>
            <a:gradFill flip="none" rotWithShape="1">
              <a:gsLst>
                <a:gs pos="0">
                  <a:schemeClr val="accent1"/>
                </a:gs>
                <a:gs pos="100000">
                  <a:schemeClr val="bg1">
                    <a:alpha val="10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216000" rtlCol="0" anchor="ctr"/>
          <a:lstStyle/>
          <a:p>
            <a:pPr>
              <a:lnSpc>
                <a:spcPct val="90000"/>
              </a:lnSpc>
            </a:pPr>
            <a:r>
              <a:rPr lang="ru-RU" sz="2200" dirty="0">
                <a:solidFill>
                  <a:schemeClr val="bg1"/>
                </a:solidFill>
                <a:sym typeface="Georgia"/>
              </a:rPr>
              <a:t>готовые решения и сценарии  вместо фильтров</a:t>
            </a:r>
          </a:p>
          <a:p>
            <a:pPr>
              <a:lnSpc>
                <a:spcPct val="90000"/>
              </a:lnSpc>
            </a:pPr>
            <a:endParaRPr lang="ru-RU" sz="2200" dirty="0">
              <a:solidFill>
                <a:schemeClr val="bg1"/>
              </a:solidFill>
              <a:sym typeface="Georgia"/>
            </a:endParaRPr>
          </a:p>
          <a:p>
            <a:pPr>
              <a:lnSpc>
                <a:spcPct val="90000"/>
              </a:lnSpc>
            </a:pPr>
            <a:endParaRPr lang="ru-RU" sz="2200" dirty="0">
              <a:solidFill>
                <a:schemeClr val="bg1"/>
              </a:solidFill>
              <a:sym typeface="Georgia"/>
            </a:endParaRPr>
          </a:p>
        </p:txBody>
      </p:sp>
      <p:sp>
        <p:nvSpPr>
          <p:cNvPr id="8" name="Овал 20">
            <a:extLst>
              <a:ext uri="{FF2B5EF4-FFF2-40B4-BE49-F238E27FC236}">
                <a16:creationId xmlns:a16="http://schemas.microsoft.com/office/drawing/2014/main" id="{2E91B5A7-AB4D-F183-AE03-8AA52849D45C}"/>
              </a:ext>
            </a:extLst>
          </p:cNvPr>
          <p:cNvSpPr/>
          <p:nvPr/>
        </p:nvSpPr>
        <p:spPr>
          <a:xfrm>
            <a:off x="14372765" y="9402843"/>
            <a:ext cx="180000" cy="180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l"/>
            <a:endParaRPr lang="ru-RU" sz="2200" dirty="0" err="1">
              <a:solidFill>
                <a:schemeClr val="tx1"/>
              </a:solidFill>
            </a:endParaRPr>
          </a:p>
        </p:txBody>
      </p:sp>
      <p:sp>
        <p:nvSpPr>
          <p:cNvPr id="10" name="Скругленный прямоугольник 26">
            <a:extLst>
              <a:ext uri="{FF2B5EF4-FFF2-40B4-BE49-F238E27FC236}">
                <a16:creationId xmlns:a16="http://schemas.microsoft.com/office/drawing/2014/main" id="{445739C6-B6E5-3745-5284-D28530914690}"/>
              </a:ext>
            </a:extLst>
          </p:cNvPr>
          <p:cNvSpPr/>
          <p:nvPr/>
        </p:nvSpPr>
        <p:spPr>
          <a:xfrm>
            <a:off x="14754221" y="9523807"/>
            <a:ext cx="1308976" cy="562630"/>
          </a:xfrm>
          <a:prstGeom prst="roundRect">
            <a:avLst>
              <a:gd name="adj" fmla="val 50000"/>
            </a:avLst>
          </a:prstGeom>
          <a:solidFill>
            <a:schemeClr val="accent4">
              <a:alpha val="15177"/>
            </a:schemeClr>
          </a:solidFill>
          <a:ln>
            <a:gradFill flip="none" rotWithShape="1">
              <a:gsLst>
                <a:gs pos="0">
                  <a:schemeClr val="accent1">
                    <a:alpha val="43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ru-RU" sz="2000" dirty="0">
                <a:solidFill>
                  <a:schemeClr val="accent1">
                    <a:alpha val="48000"/>
                  </a:schemeClr>
                </a:solidFill>
              </a:rPr>
              <a:t>Сходить</a:t>
            </a:r>
            <a:endParaRPr lang="en-US" sz="2000" dirty="0">
              <a:solidFill>
                <a:schemeClr val="accent1">
                  <a:alpha val="48000"/>
                </a:schemeClr>
              </a:solidFill>
            </a:endParaRPr>
          </a:p>
        </p:txBody>
      </p:sp>
      <p:sp>
        <p:nvSpPr>
          <p:cNvPr id="12" name="Скругленный прямоугольник 26">
            <a:extLst>
              <a:ext uri="{FF2B5EF4-FFF2-40B4-BE49-F238E27FC236}">
                <a16:creationId xmlns:a16="http://schemas.microsoft.com/office/drawing/2014/main" id="{8E05279B-3D7E-DAA0-45BA-5566D6FEEE43}"/>
              </a:ext>
            </a:extLst>
          </p:cNvPr>
          <p:cNvSpPr/>
          <p:nvPr/>
        </p:nvSpPr>
        <p:spPr>
          <a:xfrm>
            <a:off x="16259746" y="9523807"/>
            <a:ext cx="1774206" cy="562630"/>
          </a:xfrm>
          <a:prstGeom prst="roundRect">
            <a:avLst>
              <a:gd name="adj" fmla="val 50000"/>
            </a:avLst>
          </a:prstGeom>
          <a:solidFill>
            <a:schemeClr val="accent4">
              <a:alpha val="15177"/>
            </a:schemeClr>
          </a:solidFill>
          <a:ln>
            <a:gradFill flip="none" rotWithShape="1">
              <a:gsLst>
                <a:gs pos="0">
                  <a:schemeClr val="accent1">
                    <a:alpha val="43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2000" dirty="0">
                <a:solidFill>
                  <a:schemeClr val="accent1">
                    <a:alpha val="48000"/>
                  </a:schemeClr>
                </a:solidFill>
              </a:rPr>
              <a:t>Ultima Guide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23114D72-8E05-2DCD-1C4C-1ACDE29D2909}"/>
              </a:ext>
            </a:extLst>
          </p:cNvPr>
          <p:cNvGrpSpPr/>
          <p:nvPr/>
        </p:nvGrpSpPr>
        <p:grpSpPr>
          <a:xfrm>
            <a:off x="13947070" y="4967852"/>
            <a:ext cx="3926853" cy="1260408"/>
            <a:chOff x="14405169" y="5369271"/>
            <a:chExt cx="3926853" cy="1260408"/>
          </a:xfrm>
        </p:grpSpPr>
        <p:sp>
          <p:nvSpPr>
            <p:cNvPr id="3" name="Скругленный прямоугольник 10">
              <a:extLst>
                <a:ext uri="{FF2B5EF4-FFF2-40B4-BE49-F238E27FC236}">
                  <a16:creationId xmlns:a16="http://schemas.microsoft.com/office/drawing/2014/main" id="{8787EAC0-8C5F-C3E6-3FA4-3B52F21EDEC8}"/>
                </a:ext>
              </a:extLst>
            </p:cNvPr>
            <p:cNvSpPr/>
            <p:nvPr/>
          </p:nvSpPr>
          <p:spPr>
            <a:xfrm>
              <a:off x="14497719" y="5369271"/>
              <a:ext cx="3506076" cy="1260408"/>
            </a:xfrm>
            <a:prstGeom prst="roundRect">
              <a:avLst>
                <a:gd name="adj" fmla="val 30995"/>
              </a:avLst>
            </a:prstGeom>
            <a:solidFill>
              <a:schemeClr val="tx2">
                <a:alpha val="74777"/>
              </a:schemeClr>
            </a:solidFill>
            <a:ln>
              <a:gradFill flip="none" rotWithShape="1">
                <a:gsLst>
                  <a:gs pos="0">
                    <a:schemeClr val="accent1"/>
                  </a:gs>
                  <a:gs pos="100000">
                    <a:schemeClr val="bg1">
                      <a:alpha val="10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rIns="216000" rtlCol="0" anchor="ctr"/>
            <a:lstStyle/>
            <a:p>
              <a:pPr>
                <a:lnSpc>
                  <a:spcPct val="90000"/>
                </a:lnSpc>
              </a:pPr>
              <a:r>
                <a:rPr lang="ru-RU" sz="2200" dirty="0">
                  <a:solidFill>
                    <a:schemeClr val="bg1"/>
                  </a:solidFill>
                  <a:sym typeface="Georgia"/>
                </a:rPr>
                <a:t>экосистемный </a:t>
              </a:r>
              <a:br>
                <a:rPr lang="en-US" sz="2200" dirty="0">
                  <a:solidFill>
                    <a:schemeClr val="bg1"/>
                  </a:solidFill>
                  <a:sym typeface="Georgia"/>
                </a:rPr>
              </a:br>
              <a:r>
                <a:rPr lang="en-US" sz="2200" dirty="0">
                  <a:solidFill>
                    <a:schemeClr val="bg1"/>
                  </a:solidFill>
                  <a:sym typeface="Georgia"/>
                </a:rPr>
                <a:t>AI </a:t>
              </a:r>
              <a:r>
                <a:rPr lang="ru-RU" sz="2200" dirty="0">
                  <a:solidFill>
                    <a:schemeClr val="bg1"/>
                  </a:solidFill>
                  <a:sym typeface="Georgia"/>
                </a:rPr>
                <a:t>ассистент</a:t>
              </a:r>
            </a:p>
          </p:txBody>
        </p:sp>
        <p:sp>
          <p:nvSpPr>
            <p:cNvPr id="4" name="Овал 20">
              <a:extLst>
                <a:ext uri="{FF2B5EF4-FFF2-40B4-BE49-F238E27FC236}">
                  <a16:creationId xmlns:a16="http://schemas.microsoft.com/office/drawing/2014/main" id="{9A4B6145-FA80-540E-FE06-CBC6ED1A88BA}"/>
                </a:ext>
              </a:extLst>
            </p:cNvPr>
            <p:cNvSpPr/>
            <p:nvPr/>
          </p:nvSpPr>
          <p:spPr>
            <a:xfrm>
              <a:off x="14405169" y="5877145"/>
              <a:ext cx="180000" cy="18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l"/>
              <a:endParaRPr lang="ru-RU" sz="2200" dirty="0" err="1">
                <a:solidFill>
                  <a:schemeClr val="tx1"/>
                </a:solidFill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47674711-2F63-ED82-4ECE-65EF8666A18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 rot="1081040">
              <a:off x="17663363" y="5655444"/>
              <a:ext cx="668659" cy="641514"/>
            </a:xfrm>
            <a:prstGeom prst="rect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7290EDE-6A14-F79B-A8D5-4B5C5C028F0E}"/>
              </a:ext>
            </a:extLst>
          </p:cNvPr>
          <p:cNvGrpSpPr/>
          <p:nvPr/>
        </p:nvGrpSpPr>
        <p:grpSpPr>
          <a:xfrm>
            <a:off x="11345598" y="11146628"/>
            <a:ext cx="5965652" cy="1260408"/>
            <a:chOff x="11345598" y="11535540"/>
            <a:chExt cx="5965652" cy="1260408"/>
          </a:xfrm>
        </p:grpSpPr>
        <p:sp>
          <p:nvSpPr>
            <p:cNvPr id="20" name="Скругленный прямоугольник 10">
              <a:extLst>
                <a:ext uri="{FF2B5EF4-FFF2-40B4-BE49-F238E27FC236}">
                  <a16:creationId xmlns:a16="http://schemas.microsoft.com/office/drawing/2014/main" id="{24B3C4D5-2578-FF6B-7F94-C10E1FA46C5A}"/>
                </a:ext>
              </a:extLst>
            </p:cNvPr>
            <p:cNvSpPr/>
            <p:nvPr/>
          </p:nvSpPr>
          <p:spPr>
            <a:xfrm>
              <a:off x="11483987" y="11535540"/>
              <a:ext cx="5827263" cy="1260408"/>
            </a:xfrm>
            <a:prstGeom prst="roundRect">
              <a:avLst>
                <a:gd name="adj" fmla="val 30995"/>
              </a:avLst>
            </a:prstGeom>
            <a:solidFill>
              <a:schemeClr val="tx2">
                <a:alpha val="74777"/>
              </a:schemeClr>
            </a:solidFill>
            <a:ln>
              <a:gradFill flip="none" rotWithShape="1">
                <a:gsLst>
                  <a:gs pos="0">
                    <a:schemeClr val="accent1"/>
                  </a:gs>
                  <a:gs pos="100000">
                    <a:schemeClr val="bg1">
                      <a:alpha val="10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rIns="216000" rtlCol="0" anchor="ctr"/>
            <a:lstStyle/>
            <a:p>
              <a:pPr>
                <a:lnSpc>
                  <a:spcPct val="90000"/>
                </a:lnSpc>
              </a:pPr>
              <a:r>
                <a:rPr lang="ru-RU" sz="2200" dirty="0">
                  <a:solidFill>
                    <a:schemeClr val="bg1"/>
                  </a:solidFill>
                  <a:sym typeface="Georgia"/>
                </a:rPr>
                <a:t>лента рекомендаций только </a:t>
              </a:r>
              <a:br>
                <a:rPr lang="ru-RU" sz="2200" dirty="0">
                  <a:solidFill>
                    <a:schemeClr val="bg1"/>
                  </a:solidFill>
                  <a:sym typeface="Georgia"/>
                </a:rPr>
              </a:br>
              <a:r>
                <a:rPr lang="ru-RU" sz="2200" dirty="0">
                  <a:solidFill>
                    <a:schemeClr val="bg1"/>
                  </a:solidFill>
                  <a:sym typeface="Georgia"/>
                </a:rPr>
                <a:t>под тебя — от еды до развлечений</a:t>
              </a:r>
            </a:p>
          </p:txBody>
        </p:sp>
        <p:sp>
          <p:nvSpPr>
            <p:cNvPr id="22" name="Овал 20">
              <a:extLst>
                <a:ext uri="{FF2B5EF4-FFF2-40B4-BE49-F238E27FC236}">
                  <a16:creationId xmlns:a16="http://schemas.microsoft.com/office/drawing/2014/main" id="{404D0F76-5E63-8740-2AFB-20438A76C0FF}"/>
                </a:ext>
              </a:extLst>
            </p:cNvPr>
            <p:cNvSpPr/>
            <p:nvPr/>
          </p:nvSpPr>
          <p:spPr>
            <a:xfrm>
              <a:off x="11345598" y="12004319"/>
              <a:ext cx="180000" cy="18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l"/>
              <a:endParaRPr lang="ru-RU" sz="220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F44163DE-07BE-60BA-FC30-E165AC65912C}"/>
              </a:ext>
            </a:extLst>
          </p:cNvPr>
          <p:cNvGrpSpPr/>
          <p:nvPr/>
        </p:nvGrpSpPr>
        <p:grpSpPr>
          <a:xfrm>
            <a:off x="13028933" y="6054442"/>
            <a:ext cx="7327611" cy="2315284"/>
            <a:chOff x="13543288" y="8568217"/>
            <a:chExt cx="7327611" cy="2315284"/>
          </a:xfrm>
        </p:grpSpPr>
        <p:sp>
          <p:nvSpPr>
            <p:cNvPr id="15" name="Скругленный прямоугольник 10">
              <a:extLst>
                <a:ext uri="{FF2B5EF4-FFF2-40B4-BE49-F238E27FC236}">
                  <a16:creationId xmlns:a16="http://schemas.microsoft.com/office/drawing/2014/main" id="{8DA68BF1-10B9-EBCC-F171-2B2D3A3F8CDE}"/>
                </a:ext>
              </a:extLst>
            </p:cNvPr>
            <p:cNvSpPr/>
            <p:nvPr/>
          </p:nvSpPr>
          <p:spPr>
            <a:xfrm>
              <a:off x="13635837" y="9217985"/>
              <a:ext cx="5688772" cy="1260408"/>
            </a:xfrm>
            <a:prstGeom prst="roundRect">
              <a:avLst>
                <a:gd name="adj" fmla="val 30995"/>
              </a:avLst>
            </a:prstGeom>
            <a:solidFill>
              <a:schemeClr val="tx2">
                <a:alpha val="74777"/>
              </a:schemeClr>
            </a:solidFill>
            <a:ln>
              <a:gradFill flip="none" rotWithShape="1">
                <a:gsLst>
                  <a:gs pos="0">
                    <a:schemeClr val="accent1"/>
                  </a:gs>
                  <a:gs pos="100000">
                    <a:schemeClr val="bg1">
                      <a:alpha val="10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rIns="216000" rtlCol="0" anchor="ctr"/>
            <a:lstStyle/>
            <a:p>
              <a:pPr>
                <a:lnSpc>
                  <a:spcPct val="90000"/>
                </a:lnSpc>
              </a:pPr>
              <a:r>
                <a:rPr lang="ru-RU" sz="2200" dirty="0">
                  <a:solidFill>
                    <a:schemeClr val="bg1"/>
                  </a:solidFill>
                  <a:latin typeface="+mj-lt"/>
                  <a:sym typeface="Georgia"/>
                </a:rPr>
                <a:t>ритейл</a:t>
              </a:r>
              <a:r>
                <a:rPr lang="ru-RU" sz="2200" dirty="0">
                  <a:solidFill>
                    <a:schemeClr val="bg1"/>
                  </a:solidFill>
                  <a:sym typeface="Georgia"/>
                </a:rPr>
                <a:t> как полноценная новая вертикаль, а также крупные рынки</a:t>
              </a:r>
            </a:p>
          </p:txBody>
        </p:sp>
        <p:sp>
          <p:nvSpPr>
            <p:cNvPr id="17" name="Овал 20">
              <a:extLst>
                <a:ext uri="{FF2B5EF4-FFF2-40B4-BE49-F238E27FC236}">
                  <a16:creationId xmlns:a16="http://schemas.microsoft.com/office/drawing/2014/main" id="{9051D1A1-8D48-6DCE-0D2C-042E7A8108F8}"/>
                </a:ext>
              </a:extLst>
            </p:cNvPr>
            <p:cNvSpPr/>
            <p:nvPr/>
          </p:nvSpPr>
          <p:spPr>
            <a:xfrm>
              <a:off x="13543288" y="9725859"/>
              <a:ext cx="180000" cy="18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l"/>
              <a:endParaRPr lang="ru-RU" sz="2200" dirty="0" err="1">
                <a:solidFill>
                  <a:schemeClr val="tx1"/>
                </a:solidFill>
              </a:endParaRPr>
            </a:p>
          </p:txBody>
        </p: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CA209217-85C1-0175-399B-5BE284705486}"/>
                </a:ext>
              </a:extLst>
            </p:cNvPr>
            <p:cNvGrpSpPr/>
            <p:nvPr/>
          </p:nvGrpSpPr>
          <p:grpSpPr>
            <a:xfrm>
              <a:off x="18816876" y="8568217"/>
              <a:ext cx="2054023" cy="2315284"/>
              <a:chOff x="19049747" y="9572951"/>
              <a:chExt cx="1865339" cy="1880098"/>
            </a:xfrm>
          </p:grpSpPr>
          <p:pic>
            <p:nvPicPr>
              <p:cNvPr id="25" name="Picture 24">
                <a:extLst>
                  <a:ext uri="{FF2B5EF4-FFF2-40B4-BE49-F238E27FC236}">
                    <a16:creationId xmlns:a16="http://schemas.microsoft.com/office/drawing/2014/main" id="{46B96A1F-3422-352A-ECBC-2C4B2F854D7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 rot="462469">
                <a:off x="19049747" y="9572951"/>
                <a:ext cx="1310306" cy="1425061"/>
              </a:xfrm>
              <a:prstGeom prst="rect">
                <a:avLst/>
              </a:prstGeom>
            </p:spPr>
          </p:pic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07F3BAA4-B5B5-5BEF-FCB4-505EFACF7D9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 rot="1663118">
                <a:off x="19653993" y="10001092"/>
                <a:ext cx="1261093" cy="1451957"/>
              </a:xfrm>
              <a:prstGeom prst="rect">
                <a:avLst/>
              </a:prstGeom>
            </p:spPr>
          </p:pic>
        </p:grp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99F89E5-99EE-057E-EF70-BE600AE624F1}"/>
              </a:ext>
            </a:extLst>
          </p:cNvPr>
          <p:cNvGrpSpPr/>
          <p:nvPr/>
        </p:nvGrpSpPr>
        <p:grpSpPr>
          <a:xfrm>
            <a:off x="572221" y="4238171"/>
            <a:ext cx="6341719" cy="8940797"/>
            <a:chOff x="572221" y="3301999"/>
            <a:chExt cx="6341719" cy="9876969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3B60DE44-2A04-7600-3490-A1B83AE61116}"/>
                </a:ext>
              </a:extLst>
            </p:cNvPr>
            <p:cNvCxnSpPr>
              <a:cxnSpLocks/>
            </p:cNvCxnSpPr>
            <p:nvPr/>
          </p:nvCxnSpPr>
          <p:spPr>
            <a:xfrm>
              <a:off x="572221" y="3301999"/>
              <a:ext cx="0" cy="9876969"/>
            </a:xfrm>
            <a:prstGeom prst="line">
              <a:avLst/>
            </a:prstGeom>
            <a:ln w="31750" cap="sq" cmpd="sng">
              <a:solidFill>
                <a:schemeClr val="bg1"/>
              </a:solidFill>
              <a:prstDash val="solid"/>
              <a:bevel/>
              <a:headEnd type="none" w="med" len="med"/>
              <a:tailEnd type="none" w="med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F72F3D53-CEB9-BA06-E9BC-DC67480D09CE}"/>
                </a:ext>
              </a:extLst>
            </p:cNvPr>
            <p:cNvSpPr>
              <a:spLocks/>
            </p:cNvSpPr>
            <p:nvPr/>
          </p:nvSpPr>
          <p:spPr>
            <a:xfrm rot="16200000">
              <a:off x="-1572187" y="5473038"/>
              <a:ext cx="9876969" cy="5534891"/>
            </a:xfrm>
            <a:prstGeom prst="roundRect">
              <a:avLst>
                <a:gd name="adj" fmla="val 0"/>
              </a:avLst>
            </a:prstGeom>
            <a:gradFill>
              <a:gsLst>
                <a:gs pos="0">
                  <a:schemeClr val="bg1">
                    <a:alpha val="34000"/>
                  </a:schemeClr>
                </a:gs>
                <a:gs pos="41000">
                  <a:srgbClr val="373A43">
                    <a:alpha val="0"/>
                  </a:srgbClr>
                </a:gs>
              </a:gsLst>
              <a:lin ang="4800000" scaled="0"/>
            </a:gradFill>
            <a:ln w="38100">
              <a:noFill/>
            </a:ln>
            <a:effectLst>
              <a:outerShdw blurRad="635000" dist="584200" dir="8100000" algn="tr" rotWithShape="0">
                <a:schemeClr val="tx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2800" dirty="0" err="1"/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0B8151A3-9205-2974-80D9-37266E9E0FD1}"/>
                </a:ext>
              </a:extLst>
            </p:cNvPr>
            <p:cNvSpPr>
              <a:spLocks/>
            </p:cNvSpPr>
            <p:nvPr/>
          </p:nvSpPr>
          <p:spPr>
            <a:xfrm rot="16200000">
              <a:off x="-1200552" y="5473038"/>
              <a:ext cx="9876969" cy="5534891"/>
            </a:xfrm>
            <a:prstGeom prst="roundRect">
              <a:avLst>
                <a:gd name="adj" fmla="val 0"/>
              </a:avLst>
            </a:prstGeom>
            <a:gradFill>
              <a:gsLst>
                <a:gs pos="0">
                  <a:schemeClr val="bg1">
                    <a:alpha val="34000"/>
                  </a:schemeClr>
                </a:gs>
                <a:gs pos="41000">
                  <a:srgbClr val="373A43">
                    <a:alpha val="0"/>
                  </a:srgbClr>
                </a:gs>
              </a:gsLst>
              <a:lin ang="4800000" scaled="0"/>
            </a:gradFill>
            <a:ln w="38100">
              <a:noFill/>
            </a:ln>
            <a:effectLst>
              <a:outerShdw blurRad="635000" dist="584200" dir="8100000" algn="tr" rotWithShape="0">
                <a:schemeClr val="tx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2800" dirty="0" err="1"/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2E74728D-3DE2-4675-7C7B-577A3CA0750F}"/>
                </a:ext>
              </a:extLst>
            </p:cNvPr>
            <p:cNvSpPr>
              <a:spLocks/>
            </p:cNvSpPr>
            <p:nvPr/>
          </p:nvSpPr>
          <p:spPr>
            <a:xfrm rot="16200000">
              <a:off x="-791990" y="5473038"/>
              <a:ext cx="9876969" cy="5534891"/>
            </a:xfrm>
            <a:prstGeom prst="roundRect">
              <a:avLst>
                <a:gd name="adj" fmla="val 0"/>
              </a:avLst>
            </a:prstGeom>
            <a:gradFill>
              <a:gsLst>
                <a:gs pos="0">
                  <a:schemeClr val="bg1">
                    <a:alpha val="34000"/>
                  </a:schemeClr>
                </a:gs>
                <a:gs pos="41000">
                  <a:srgbClr val="373A43">
                    <a:alpha val="0"/>
                  </a:srgbClr>
                </a:gs>
              </a:gsLst>
              <a:lin ang="4800000" scaled="0"/>
            </a:gradFill>
            <a:ln w="38100">
              <a:noFill/>
            </a:ln>
            <a:effectLst>
              <a:outerShdw blurRad="635000" dist="584200" dir="8100000" algn="tr" rotWithShape="0">
                <a:schemeClr val="tx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2800" dirty="0" err="1"/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F1F0713E-664C-1E46-E179-FE5941B3F25F}"/>
              </a:ext>
            </a:extLst>
          </p:cNvPr>
          <p:cNvSpPr txBox="1"/>
          <p:nvPr/>
        </p:nvSpPr>
        <p:spPr>
          <a:xfrm>
            <a:off x="1722735" y="4592327"/>
            <a:ext cx="1695977" cy="984885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dirty="0">
                <a:solidFill>
                  <a:schemeClr val="bg1">
                    <a:alpha val="42000"/>
                  </a:schemeClr>
                </a:solidFill>
              </a:rPr>
              <a:t>запрос </a:t>
            </a:r>
            <a:br>
              <a:rPr lang="en-US" dirty="0">
                <a:solidFill>
                  <a:schemeClr val="bg1">
                    <a:alpha val="42000"/>
                  </a:schemeClr>
                </a:solidFill>
              </a:rPr>
            </a:br>
            <a:r>
              <a:rPr lang="ru-RU" dirty="0">
                <a:solidFill>
                  <a:schemeClr val="bg1">
                    <a:alpha val="42000"/>
                  </a:schemeClr>
                </a:solidFill>
              </a:rPr>
              <a:t>функции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5AC66352-E341-596C-0500-A0B0267582C1}"/>
              </a:ext>
            </a:extLst>
          </p:cNvPr>
          <p:cNvGrpSpPr/>
          <p:nvPr/>
        </p:nvGrpSpPr>
        <p:grpSpPr>
          <a:xfrm>
            <a:off x="5110624" y="4441444"/>
            <a:ext cx="6776577" cy="1598418"/>
            <a:chOff x="5110624" y="4267430"/>
            <a:chExt cx="6776577" cy="1598418"/>
          </a:xfrm>
        </p:grpSpPr>
        <p:sp>
          <p:nvSpPr>
            <p:cNvPr id="26" name="Graphic 51">
              <a:extLst>
                <a:ext uri="{FF2B5EF4-FFF2-40B4-BE49-F238E27FC236}">
                  <a16:creationId xmlns:a16="http://schemas.microsoft.com/office/drawing/2014/main" id="{3ACC306B-7A8B-86C0-396F-5B53FCB7BBEA}"/>
                </a:ext>
              </a:extLst>
            </p:cNvPr>
            <p:cNvSpPr/>
            <p:nvPr/>
          </p:nvSpPr>
          <p:spPr>
            <a:xfrm flipH="1">
              <a:off x="5402344" y="5308270"/>
              <a:ext cx="436440" cy="557578"/>
            </a:xfrm>
            <a:custGeom>
              <a:avLst/>
              <a:gdLst>
                <a:gd name="connsiteX0" fmla="*/ 22 w 370210"/>
                <a:gd name="connsiteY0" fmla="*/ 189187 h 472965"/>
                <a:gd name="connsiteX1" fmla="*/ 231490 w 370210"/>
                <a:gd name="connsiteY1" fmla="*/ 472966 h 472965"/>
                <a:gd name="connsiteX2" fmla="*/ 232275 w 370210"/>
                <a:gd name="connsiteY2" fmla="*/ 173696 h 472965"/>
                <a:gd name="connsiteX3" fmla="*/ 370210 w 370210"/>
                <a:gd name="connsiteY3" fmla="*/ 0 h 472965"/>
                <a:gd name="connsiteX4" fmla="*/ 22 w 370210"/>
                <a:gd name="connsiteY4" fmla="*/ 189187 h 472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210" h="472965">
                  <a:moveTo>
                    <a:pt x="22" y="189187"/>
                  </a:moveTo>
                  <a:cubicBezTo>
                    <a:pt x="-2102" y="294130"/>
                    <a:pt x="153449" y="422098"/>
                    <a:pt x="231490" y="472966"/>
                  </a:cubicBezTo>
                  <a:cubicBezTo>
                    <a:pt x="132942" y="341392"/>
                    <a:pt x="190952" y="218630"/>
                    <a:pt x="232275" y="173696"/>
                  </a:cubicBezTo>
                  <a:lnTo>
                    <a:pt x="370210" y="0"/>
                  </a:lnTo>
                  <a:cubicBezTo>
                    <a:pt x="247699" y="19337"/>
                    <a:pt x="2145" y="84245"/>
                    <a:pt x="22" y="189187"/>
                  </a:cubicBezTo>
                  <a:close/>
                </a:path>
              </a:pathLst>
            </a:custGeom>
            <a:solidFill>
              <a:srgbClr val="42444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200">
                <a:solidFill>
                  <a:schemeClr val="bg1">
                    <a:alpha val="78000"/>
                  </a:schemeClr>
                </a:solidFill>
              </a:endParaRP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654D5469-AEE9-82EE-DBA9-0402ACF9B731}"/>
                </a:ext>
              </a:extLst>
            </p:cNvPr>
            <p:cNvSpPr/>
            <p:nvPr/>
          </p:nvSpPr>
          <p:spPr>
            <a:xfrm>
              <a:off x="5110624" y="4267430"/>
              <a:ext cx="6776577" cy="1156612"/>
            </a:xfrm>
            <a:prstGeom prst="roundRect">
              <a:avLst>
                <a:gd name="adj" fmla="val 50000"/>
              </a:avLst>
            </a:prstGeom>
            <a:solidFill>
              <a:srgbClr val="42444E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72000" rIns="180000" bIns="72000" rtlCol="0" anchor="ctr" anchorCtr="0">
              <a:spAutoFit/>
            </a:bodyPr>
            <a:lstStyle/>
            <a:p>
              <a:pPr algn="ctr"/>
              <a:r>
                <a:rPr lang="ru-RU" sz="2200" dirty="0">
                  <a:ln w="0"/>
                  <a:solidFill>
                    <a:schemeClr val="bg1">
                      <a:alpha val="78000"/>
                    </a:schemeClr>
                  </a:solidFill>
                </a:rPr>
                <a:t>виртуальный ассистент в приложении </a:t>
              </a:r>
              <a:br>
                <a:rPr lang="ru-RU" sz="2200" dirty="0">
                  <a:ln w="0"/>
                  <a:solidFill>
                    <a:schemeClr val="bg1">
                      <a:alpha val="78000"/>
                    </a:schemeClr>
                  </a:solidFill>
                </a:rPr>
              </a:br>
              <a:r>
                <a:rPr lang="ru-RU" sz="2200" dirty="0">
                  <a:ln w="0"/>
                  <a:solidFill>
                    <a:schemeClr val="bg1">
                      <a:alpha val="78000"/>
                    </a:schemeClr>
                  </a:solidFill>
                </a:rPr>
                <a:t>(напр., Алиса, «как скрепка-подсказка в Word»)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354FE225-8F50-8D7D-5251-F855DB3092A3}"/>
              </a:ext>
            </a:extLst>
          </p:cNvPr>
          <p:cNvGrpSpPr/>
          <p:nvPr/>
        </p:nvGrpSpPr>
        <p:grpSpPr>
          <a:xfrm>
            <a:off x="5402344" y="8425105"/>
            <a:ext cx="5600933" cy="1598418"/>
            <a:chOff x="3690011" y="6482638"/>
            <a:chExt cx="5600933" cy="1598418"/>
          </a:xfrm>
        </p:grpSpPr>
        <p:sp>
          <p:nvSpPr>
            <p:cNvPr id="32" name="Graphic 51">
              <a:extLst>
                <a:ext uri="{FF2B5EF4-FFF2-40B4-BE49-F238E27FC236}">
                  <a16:creationId xmlns:a16="http://schemas.microsoft.com/office/drawing/2014/main" id="{B73543FC-E51F-515E-D096-F900CF863886}"/>
                </a:ext>
              </a:extLst>
            </p:cNvPr>
            <p:cNvSpPr/>
            <p:nvPr/>
          </p:nvSpPr>
          <p:spPr>
            <a:xfrm flipH="1">
              <a:off x="3981729" y="7523478"/>
              <a:ext cx="436440" cy="557578"/>
            </a:xfrm>
            <a:custGeom>
              <a:avLst/>
              <a:gdLst>
                <a:gd name="connsiteX0" fmla="*/ 22 w 370210"/>
                <a:gd name="connsiteY0" fmla="*/ 189187 h 472965"/>
                <a:gd name="connsiteX1" fmla="*/ 231490 w 370210"/>
                <a:gd name="connsiteY1" fmla="*/ 472966 h 472965"/>
                <a:gd name="connsiteX2" fmla="*/ 232275 w 370210"/>
                <a:gd name="connsiteY2" fmla="*/ 173696 h 472965"/>
                <a:gd name="connsiteX3" fmla="*/ 370210 w 370210"/>
                <a:gd name="connsiteY3" fmla="*/ 0 h 472965"/>
                <a:gd name="connsiteX4" fmla="*/ 22 w 370210"/>
                <a:gd name="connsiteY4" fmla="*/ 189187 h 472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210" h="472965">
                  <a:moveTo>
                    <a:pt x="22" y="189187"/>
                  </a:moveTo>
                  <a:cubicBezTo>
                    <a:pt x="-2102" y="294130"/>
                    <a:pt x="153449" y="422098"/>
                    <a:pt x="231490" y="472966"/>
                  </a:cubicBezTo>
                  <a:cubicBezTo>
                    <a:pt x="132942" y="341392"/>
                    <a:pt x="190952" y="218630"/>
                    <a:pt x="232275" y="173696"/>
                  </a:cubicBezTo>
                  <a:lnTo>
                    <a:pt x="370210" y="0"/>
                  </a:lnTo>
                  <a:cubicBezTo>
                    <a:pt x="247699" y="19337"/>
                    <a:pt x="2145" y="84245"/>
                    <a:pt x="22" y="189187"/>
                  </a:cubicBezTo>
                  <a:close/>
                </a:path>
              </a:pathLst>
            </a:custGeom>
            <a:solidFill>
              <a:srgbClr val="42444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200">
                <a:solidFill>
                  <a:schemeClr val="bg1">
                    <a:alpha val="78000"/>
                  </a:schemeClr>
                </a:solidFill>
              </a:endParaRPr>
            </a:p>
          </p:txBody>
        </p: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CC6560B7-C576-EFB7-46E9-F572C07FAE9E}"/>
                </a:ext>
              </a:extLst>
            </p:cNvPr>
            <p:cNvSpPr/>
            <p:nvPr/>
          </p:nvSpPr>
          <p:spPr>
            <a:xfrm>
              <a:off x="3690011" y="6482638"/>
              <a:ext cx="5600933" cy="1156612"/>
            </a:xfrm>
            <a:prstGeom prst="roundRect">
              <a:avLst>
                <a:gd name="adj" fmla="val 50000"/>
              </a:avLst>
            </a:prstGeom>
            <a:solidFill>
              <a:srgbClr val="42444E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72000" rIns="180000" bIns="72000" rtlCol="0" anchor="ctr" anchorCtr="0">
              <a:spAutoFit/>
            </a:bodyPr>
            <a:lstStyle/>
            <a:p>
              <a:pPr algn="ctr"/>
              <a:r>
                <a:rPr lang="ru-RU" sz="2200" dirty="0">
                  <a:ln w="0"/>
                  <a:solidFill>
                    <a:schemeClr val="bg1">
                      <a:alpha val="78000"/>
                    </a:schemeClr>
                  </a:solidFill>
                </a:rPr>
                <a:t>удобные фильтры – по ситуациям, </a:t>
              </a:r>
              <a:br>
                <a:rPr lang="ru-RU" sz="2200" dirty="0">
                  <a:ln w="0"/>
                  <a:solidFill>
                    <a:schemeClr val="bg1">
                      <a:alpha val="78000"/>
                    </a:schemeClr>
                  </a:solidFill>
                </a:rPr>
              </a:br>
              <a:r>
                <a:rPr lang="ru-RU" sz="2200" dirty="0">
                  <a:ln w="0"/>
                  <a:solidFill>
                    <a:schemeClr val="bg1">
                      <a:alpha val="78000"/>
                    </a:schemeClr>
                  </a:solidFill>
                </a:rPr>
                <a:t>по блюдам, заведениям и пр.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5A4A60B8-E87A-188A-844F-6ADA61355524}"/>
              </a:ext>
            </a:extLst>
          </p:cNvPr>
          <p:cNvGrpSpPr/>
          <p:nvPr/>
        </p:nvGrpSpPr>
        <p:grpSpPr>
          <a:xfrm>
            <a:off x="3737932" y="6715584"/>
            <a:ext cx="5768925" cy="1086608"/>
            <a:chOff x="4774499" y="8760262"/>
            <a:chExt cx="5768925" cy="1086608"/>
          </a:xfrm>
        </p:grpSpPr>
        <p:sp>
          <p:nvSpPr>
            <p:cNvPr id="35" name="Graphic 51">
              <a:extLst>
                <a:ext uri="{FF2B5EF4-FFF2-40B4-BE49-F238E27FC236}">
                  <a16:creationId xmlns:a16="http://schemas.microsoft.com/office/drawing/2014/main" id="{3AA6D145-E149-DEA3-26E3-1BB377CA52D3}"/>
                </a:ext>
              </a:extLst>
            </p:cNvPr>
            <p:cNvSpPr/>
            <p:nvPr/>
          </p:nvSpPr>
          <p:spPr>
            <a:xfrm flipH="1">
              <a:off x="5066218" y="9289292"/>
              <a:ext cx="436440" cy="557578"/>
            </a:xfrm>
            <a:custGeom>
              <a:avLst/>
              <a:gdLst>
                <a:gd name="connsiteX0" fmla="*/ 22 w 370210"/>
                <a:gd name="connsiteY0" fmla="*/ 189187 h 472965"/>
                <a:gd name="connsiteX1" fmla="*/ 231490 w 370210"/>
                <a:gd name="connsiteY1" fmla="*/ 472966 h 472965"/>
                <a:gd name="connsiteX2" fmla="*/ 232275 w 370210"/>
                <a:gd name="connsiteY2" fmla="*/ 173696 h 472965"/>
                <a:gd name="connsiteX3" fmla="*/ 370210 w 370210"/>
                <a:gd name="connsiteY3" fmla="*/ 0 h 472965"/>
                <a:gd name="connsiteX4" fmla="*/ 22 w 370210"/>
                <a:gd name="connsiteY4" fmla="*/ 189187 h 472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210" h="472965">
                  <a:moveTo>
                    <a:pt x="22" y="189187"/>
                  </a:moveTo>
                  <a:cubicBezTo>
                    <a:pt x="-2102" y="294130"/>
                    <a:pt x="153449" y="422098"/>
                    <a:pt x="231490" y="472966"/>
                  </a:cubicBezTo>
                  <a:cubicBezTo>
                    <a:pt x="132942" y="341392"/>
                    <a:pt x="190952" y="218630"/>
                    <a:pt x="232275" y="173696"/>
                  </a:cubicBezTo>
                  <a:lnTo>
                    <a:pt x="370210" y="0"/>
                  </a:lnTo>
                  <a:cubicBezTo>
                    <a:pt x="247699" y="19337"/>
                    <a:pt x="2145" y="84245"/>
                    <a:pt x="22" y="189187"/>
                  </a:cubicBezTo>
                  <a:close/>
                </a:path>
              </a:pathLst>
            </a:custGeom>
            <a:solidFill>
              <a:srgbClr val="42444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200">
                <a:solidFill>
                  <a:schemeClr val="bg1">
                    <a:alpha val="78000"/>
                  </a:schemeClr>
                </a:solidFill>
              </a:endParaRPr>
            </a:p>
          </p:txBody>
        </p:sp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D2721807-8583-917E-569B-E286F16DCFF2}"/>
                </a:ext>
              </a:extLst>
            </p:cNvPr>
            <p:cNvSpPr/>
            <p:nvPr/>
          </p:nvSpPr>
          <p:spPr>
            <a:xfrm>
              <a:off x="4774499" y="8760262"/>
              <a:ext cx="5768925" cy="680541"/>
            </a:xfrm>
            <a:prstGeom prst="roundRect">
              <a:avLst>
                <a:gd name="adj" fmla="val 50000"/>
              </a:avLst>
            </a:prstGeom>
            <a:solidFill>
              <a:srgbClr val="42444E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72000" rIns="180000" bIns="72000" rtlCol="0" anchor="ctr" anchorCtr="0">
              <a:spAutoFit/>
            </a:bodyPr>
            <a:lstStyle/>
            <a:p>
              <a:pPr algn="ctr"/>
              <a:r>
                <a:rPr lang="ru-RU" sz="2200" dirty="0">
                  <a:ln w="0"/>
                  <a:solidFill>
                    <a:schemeClr val="bg1">
                      <a:alpha val="78000"/>
                    </a:schemeClr>
                  </a:solidFill>
                </a:rPr>
                <a:t>доставка из рынков (свежие продукты)</a:t>
              </a: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71D4D1B-E558-8BB0-21AE-E5D67760DCF1}"/>
              </a:ext>
            </a:extLst>
          </p:cNvPr>
          <p:cNvGrpSpPr/>
          <p:nvPr/>
        </p:nvGrpSpPr>
        <p:grpSpPr>
          <a:xfrm>
            <a:off x="4381114" y="10908951"/>
            <a:ext cx="5462386" cy="1086608"/>
            <a:chOff x="3057500" y="10908951"/>
            <a:chExt cx="5462386" cy="1086608"/>
          </a:xfrm>
        </p:grpSpPr>
        <p:sp>
          <p:nvSpPr>
            <p:cNvPr id="38" name="Graphic 51">
              <a:extLst>
                <a:ext uri="{FF2B5EF4-FFF2-40B4-BE49-F238E27FC236}">
                  <a16:creationId xmlns:a16="http://schemas.microsoft.com/office/drawing/2014/main" id="{BEE93929-ED39-EE60-4C0F-F4B1E38D4063}"/>
                </a:ext>
              </a:extLst>
            </p:cNvPr>
            <p:cNvSpPr/>
            <p:nvPr/>
          </p:nvSpPr>
          <p:spPr>
            <a:xfrm flipH="1">
              <a:off x="3349219" y="11437981"/>
              <a:ext cx="436440" cy="557578"/>
            </a:xfrm>
            <a:custGeom>
              <a:avLst/>
              <a:gdLst>
                <a:gd name="connsiteX0" fmla="*/ 22 w 370210"/>
                <a:gd name="connsiteY0" fmla="*/ 189187 h 472965"/>
                <a:gd name="connsiteX1" fmla="*/ 231490 w 370210"/>
                <a:gd name="connsiteY1" fmla="*/ 472966 h 472965"/>
                <a:gd name="connsiteX2" fmla="*/ 232275 w 370210"/>
                <a:gd name="connsiteY2" fmla="*/ 173696 h 472965"/>
                <a:gd name="connsiteX3" fmla="*/ 370210 w 370210"/>
                <a:gd name="connsiteY3" fmla="*/ 0 h 472965"/>
                <a:gd name="connsiteX4" fmla="*/ 22 w 370210"/>
                <a:gd name="connsiteY4" fmla="*/ 189187 h 472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210" h="472965">
                  <a:moveTo>
                    <a:pt x="22" y="189187"/>
                  </a:moveTo>
                  <a:cubicBezTo>
                    <a:pt x="-2102" y="294130"/>
                    <a:pt x="153449" y="422098"/>
                    <a:pt x="231490" y="472966"/>
                  </a:cubicBezTo>
                  <a:cubicBezTo>
                    <a:pt x="132942" y="341392"/>
                    <a:pt x="190952" y="218630"/>
                    <a:pt x="232275" y="173696"/>
                  </a:cubicBezTo>
                  <a:lnTo>
                    <a:pt x="370210" y="0"/>
                  </a:lnTo>
                  <a:cubicBezTo>
                    <a:pt x="247699" y="19337"/>
                    <a:pt x="2145" y="84245"/>
                    <a:pt x="22" y="189187"/>
                  </a:cubicBezTo>
                  <a:close/>
                </a:path>
              </a:pathLst>
            </a:custGeom>
            <a:solidFill>
              <a:srgbClr val="42444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200">
                <a:solidFill>
                  <a:schemeClr val="bg1">
                    <a:alpha val="78000"/>
                  </a:schemeClr>
                </a:solidFill>
              </a:endParaRPr>
            </a:p>
          </p:txBody>
        </p: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673AD64F-4CB0-13C8-D015-48B2238D3E12}"/>
                </a:ext>
              </a:extLst>
            </p:cNvPr>
            <p:cNvSpPr/>
            <p:nvPr/>
          </p:nvSpPr>
          <p:spPr>
            <a:xfrm>
              <a:off x="3057500" y="10908951"/>
              <a:ext cx="5462386" cy="680541"/>
            </a:xfrm>
            <a:prstGeom prst="roundRect">
              <a:avLst>
                <a:gd name="adj" fmla="val 50000"/>
              </a:avLst>
            </a:prstGeom>
            <a:solidFill>
              <a:srgbClr val="42444E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72000" rIns="180000" bIns="72000" rtlCol="0" anchor="ctr" anchorCtr="0">
              <a:spAutoFit/>
            </a:bodyPr>
            <a:lstStyle/>
            <a:p>
              <a:pPr algn="ctr"/>
              <a:r>
                <a:rPr lang="ru-RU" sz="2200" dirty="0">
                  <a:ln w="0"/>
                  <a:solidFill>
                    <a:schemeClr val="bg1">
                      <a:alpha val="78000"/>
                    </a:schemeClr>
                  </a:solidFill>
                </a:rPr>
                <a:t>персонализированные рекомендации</a:t>
              </a:r>
            </a:p>
          </p:txBody>
        </p: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3F306ED5-139C-47E3-46A5-3ABA883BBA66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16" b="10116"/>
          <a:stretch/>
        </p:blipFill>
        <p:spPr>
          <a:xfrm rot="667596">
            <a:off x="16198859" y="10300818"/>
            <a:ext cx="2981296" cy="4946542"/>
          </a:xfrm>
          <a:prstGeom prst="round2SameRect">
            <a:avLst>
              <a:gd name="adj1" fmla="val 10825"/>
              <a:gd name="adj2" fmla="val 0"/>
            </a:avLst>
          </a:prstGeom>
        </p:spPr>
      </p:pic>
    </p:spTree>
    <p:extLst>
      <p:ext uri="{BB962C8B-B14F-4D97-AF65-F5344CB8AC3E}">
        <p14:creationId xmlns:p14="http://schemas.microsoft.com/office/powerpoint/2010/main" val="5356677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3EDAB40-79FE-C102-98DA-5114ED39E1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082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0" imgH="409" progId="TCLayout.ActiveDocument.1">
                  <p:embed/>
                </p:oleObj>
              </mc:Choice>
              <mc:Fallback>
                <p:oleObj name="think-cell Slide" r:id="rId5" imgW="410" imgH="40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EDAB40-79FE-C102-98DA-5114ED39E1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7" name="hf_20260420_120321_f8ae649b-86c1-4651-8998-19926b1fd692">
            <a:hlinkClick r:id="" action="ppaction://media"/>
            <a:extLst>
              <a:ext uri="{FF2B5EF4-FFF2-40B4-BE49-F238E27FC236}">
                <a16:creationId xmlns:a16="http://schemas.microsoft.com/office/drawing/2014/main" id="{50A98AA5-2E5A-F7D9-4662-4BA2A7FF51CE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3">
                  <p14:trim st="1049"/>
                </p14:media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0" y="0"/>
            <a:ext cx="24384000" cy="137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30974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993" fill="hold"/>
                                        <p:tgtEl>
                                          <p:spTgt spid="6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0" mute="1">
                <p:cTn id="7" fill="hold" display="0">
                  <p:stCondLst>
                    <p:cond delay="indefinite"/>
                  </p:stCondLst>
                </p:cTn>
                <p:tgtEl>
                  <p:spTgt spid="6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7"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3EDAB40-79FE-C102-98DA-5114ED39E1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2676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EDAB40-79FE-C102-98DA-5114ED39E1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FEA56EDB-B268-AA1D-335D-78CB0B9092AC}"/>
              </a:ext>
            </a:extLst>
          </p:cNvPr>
          <p:cNvSpPr/>
          <p:nvPr/>
        </p:nvSpPr>
        <p:spPr>
          <a:xfrm>
            <a:off x="22337486" y="12496800"/>
            <a:ext cx="1524000" cy="994952"/>
          </a:xfrm>
          <a:prstGeom prst="rect">
            <a:avLst/>
          </a:prstGeom>
          <a:solidFill>
            <a:srgbClr val="292B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l"/>
            <a:endParaRPr lang="en-GB" sz="3200" dirty="0" err="1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28763A-F601-ABB4-362A-B17B1D736EFD}"/>
              </a:ext>
            </a:extLst>
          </p:cNvPr>
          <p:cNvSpPr txBox="1">
            <a:spLocks/>
          </p:cNvSpPr>
          <p:nvPr/>
        </p:nvSpPr>
        <p:spPr>
          <a:xfrm>
            <a:off x="4589187" y="1406392"/>
            <a:ext cx="15313470" cy="159274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pPr algn="ctr">
              <a:lnSpc>
                <a:spcPct val="90000"/>
              </a:lnSpc>
            </a:pPr>
            <a:r>
              <a:rPr lang="en-US" sz="11500" dirty="0">
                <a:gradFill flip="none" rotWithShape="1">
                  <a:gsLst>
                    <a:gs pos="100000">
                      <a:schemeClr val="bg1"/>
                    </a:gs>
                    <a:gs pos="0">
                      <a:schemeClr val="accent3"/>
                    </a:gs>
                  </a:gsLst>
                  <a:lin ang="0" scaled="1"/>
                  <a:tileRect/>
                </a:gradFill>
                <a:latin typeface="+mj-lt"/>
                <a:ea typeface="Yango Text" panose="020B0504020202020204" pitchFamily="34" charset="-79"/>
                <a:cs typeface="Yango Text" panose="020B0504020202020204" pitchFamily="34" charset="-79"/>
              </a:rPr>
              <a:t>homo intolerance </a:t>
            </a:r>
            <a:endParaRPr lang="ru-RU" sz="6600" dirty="0">
              <a:gradFill flip="none" rotWithShape="1">
                <a:gsLst>
                  <a:gs pos="100000">
                    <a:schemeClr val="bg1"/>
                  </a:gs>
                  <a:gs pos="0">
                    <a:schemeClr val="accent3"/>
                  </a:gs>
                </a:gsLst>
                <a:lin ang="0" scaled="1"/>
                <a:tileRect/>
              </a:gradFill>
              <a:latin typeface="+mj-lt"/>
              <a:ea typeface="Yango Text" panose="020B0504020202020204" pitchFamily="34" charset="-79"/>
              <a:cs typeface="Yango Text" panose="020B0504020202020204" pitchFamily="34" charset="-79"/>
            </a:endParaRPr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FD462B1A-13CA-427D-8F91-7F483BBE751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b="17545"/>
          <a:stretch/>
        </p:blipFill>
        <p:spPr>
          <a:xfrm>
            <a:off x="14472414" y="5279937"/>
            <a:ext cx="7739887" cy="8855163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E170E809-51FC-7020-E821-D5843FA09F1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14126" y="3981031"/>
            <a:ext cx="8302279" cy="1171356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3FF23C1-37C7-207F-3948-BA2775D765B1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b="13393"/>
          <a:stretch/>
        </p:blipFill>
        <p:spPr>
          <a:xfrm>
            <a:off x="7484445" y="4660558"/>
            <a:ext cx="9561773" cy="9474542"/>
          </a:xfrm>
          <a:prstGeom prst="rect">
            <a:avLst/>
          </a:prstGeom>
        </p:spPr>
      </p:pic>
      <p:pic>
        <p:nvPicPr>
          <p:cNvPr id="12" name="Рисунок 44" descr="Изображение выглядит как снимок экрана, свет, искусство, дизайн&#10;&#10;Содержимое, созданное искусственным интеллектом, может быть неверным.">
            <a:extLst>
              <a:ext uri="{FF2B5EF4-FFF2-40B4-BE49-F238E27FC236}">
                <a16:creationId xmlns:a16="http://schemas.microsoft.com/office/drawing/2014/main" id="{AAE0B5C2-7ED8-F32F-3EE5-A05C5D1D819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48074"/>
          <a:stretch/>
        </p:blipFill>
        <p:spPr>
          <a:xfrm>
            <a:off x="-1322898" y="5499163"/>
            <a:ext cx="26763360" cy="821683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60B02F1-092E-529F-5F36-2E8687B72FC6}"/>
              </a:ext>
            </a:extLst>
          </p:cNvPr>
          <p:cNvSpPr txBox="1">
            <a:spLocks/>
          </p:cNvSpPr>
          <p:nvPr/>
        </p:nvSpPr>
        <p:spPr>
          <a:xfrm>
            <a:off x="4589187" y="615043"/>
            <a:ext cx="15313470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pPr algn="ctr">
              <a:lnSpc>
                <a:spcPct val="90000"/>
              </a:lnSpc>
            </a:pPr>
            <a:r>
              <a:rPr lang="ru-RU" sz="4000" dirty="0">
                <a:gradFill flip="none" rotWithShape="1">
                  <a:gsLst>
                    <a:gs pos="100000">
                      <a:schemeClr val="bg1"/>
                    </a:gs>
                    <a:gs pos="0">
                      <a:schemeClr val="accent3"/>
                    </a:gs>
                  </a:gsLst>
                  <a:lin ang="0" scaled="1"/>
                  <a:tileRect/>
                </a:gradFill>
                <a:latin typeface="+mj-lt"/>
                <a:ea typeface="Yango Text" panose="020B0504020202020204" pitchFamily="34" charset="-79"/>
                <a:cs typeface="Yango Text" panose="020B0504020202020204" pitchFamily="34" charset="-79"/>
              </a:rPr>
              <a:t>какие роли играет</a:t>
            </a:r>
          </a:p>
        </p:txBody>
      </p:sp>
      <p:sp>
        <p:nvSpPr>
          <p:cNvPr id="10" name="Скругленный прямоугольник 26">
            <a:extLst>
              <a:ext uri="{FF2B5EF4-FFF2-40B4-BE49-F238E27FC236}">
                <a16:creationId xmlns:a16="http://schemas.microsoft.com/office/drawing/2014/main" id="{E429522C-5E0C-70F4-4089-990A8AC313CB}"/>
              </a:ext>
            </a:extLst>
          </p:cNvPr>
          <p:cNvSpPr/>
          <p:nvPr/>
        </p:nvSpPr>
        <p:spPr>
          <a:xfrm>
            <a:off x="3226237" y="3981031"/>
            <a:ext cx="3496589" cy="797767"/>
          </a:xfrm>
          <a:prstGeom prst="roundRect">
            <a:avLst>
              <a:gd name="adj" fmla="val 50000"/>
            </a:avLst>
          </a:prstGeom>
          <a:solidFill>
            <a:schemeClr val="accent4">
              <a:alpha val="15177"/>
            </a:schemeClr>
          </a:solidFill>
          <a:ln>
            <a:gradFill flip="none" rotWithShape="1">
              <a:gsLst>
                <a:gs pos="0">
                  <a:schemeClr val="bg2">
                    <a:alpha val="50000"/>
                  </a:schemeClr>
                </a:gs>
                <a:gs pos="100000">
                  <a:schemeClr val="bg1">
                    <a:alpha val="10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спидраннер</a:t>
            </a:r>
          </a:p>
        </p:txBody>
      </p:sp>
      <p:sp>
        <p:nvSpPr>
          <p:cNvPr id="13" name="Скругленный прямоугольник 26">
            <a:extLst>
              <a:ext uri="{FF2B5EF4-FFF2-40B4-BE49-F238E27FC236}">
                <a16:creationId xmlns:a16="http://schemas.microsoft.com/office/drawing/2014/main" id="{77862C55-1236-EF90-E857-B3ED0E15C44E}"/>
              </a:ext>
            </a:extLst>
          </p:cNvPr>
          <p:cNvSpPr/>
          <p:nvPr/>
        </p:nvSpPr>
        <p:spPr>
          <a:xfrm>
            <a:off x="10566607" y="3981031"/>
            <a:ext cx="3496589" cy="797767"/>
          </a:xfrm>
          <a:prstGeom prst="roundRect">
            <a:avLst>
              <a:gd name="adj" fmla="val 50000"/>
            </a:avLst>
          </a:prstGeom>
          <a:solidFill>
            <a:schemeClr val="accent4">
              <a:alpha val="15177"/>
            </a:schemeClr>
          </a:solidFill>
          <a:ln>
            <a:gradFill flip="none" rotWithShape="1">
              <a:gsLst>
                <a:gs pos="0">
                  <a:schemeClr val="bg2">
                    <a:alpha val="50000"/>
                  </a:schemeClr>
                </a:gs>
                <a:gs pos="100000">
                  <a:schemeClr val="bg1">
                    <a:alpha val="10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хедлайнер</a:t>
            </a:r>
          </a:p>
        </p:txBody>
      </p:sp>
      <p:sp>
        <p:nvSpPr>
          <p:cNvPr id="14" name="Скругленный прямоугольник 26">
            <a:extLst>
              <a:ext uri="{FF2B5EF4-FFF2-40B4-BE49-F238E27FC236}">
                <a16:creationId xmlns:a16="http://schemas.microsoft.com/office/drawing/2014/main" id="{B22CD846-1277-1011-BFC3-AF623B20134A}"/>
              </a:ext>
            </a:extLst>
          </p:cNvPr>
          <p:cNvSpPr/>
          <p:nvPr/>
        </p:nvSpPr>
        <p:spPr>
          <a:xfrm>
            <a:off x="17546621" y="3981031"/>
            <a:ext cx="4712071" cy="797767"/>
          </a:xfrm>
          <a:prstGeom prst="roundRect">
            <a:avLst>
              <a:gd name="adj" fmla="val 50000"/>
            </a:avLst>
          </a:prstGeom>
          <a:solidFill>
            <a:schemeClr val="accent4">
              <a:alpha val="15177"/>
            </a:schemeClr>
          </a:solidFill>
          <a:ln>
            <a:gradFill flip="none" rotWithShape="1">
              <a:gsLst>
                <a:gs pos="0">
                  <a:schemeClr val="bg2">
                    <a:alpha val="50000"/>
                  </a:schemeClr>
                </a:gs>
                <a:gs pos="100000">
                  <a:schemeClr val="bg1">
                    <a:alpha val="10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СЕО своей жизни</a:t>
            </a: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3A5D625A-5F44-FF9E-6A51-1037432912A2}"/>
              </a:ext>
            </a:extLst>
          </p:cNvPr>
          <p:cNvSpPr>
            <a:spLocks/>
          </p:cNvSpPr>
          <p:nvPr/>
        </p:nvSpPr>
        <p:spPr>
          <a:xfrm>
            <a:off x="4820656" y="2970017"/>
            <a:ext cx="6616602" cy="803697"/>
          </a:xfrm>
          <a:custGeom>
            <a:avLst/>
            <a:gdLst>
              <a:gd name="connsiteX0" fmla="*/ 4905375 w 4905375"/>
              <a:gd name="connsiteY0" fmla="*/ 0 h 509587"/>
              <a:gd name="connsiteX1" fmla="*/ 4638675 w 4905375"/>
              <a:gd name="connsiteY1" fmla="*/ 266700 h 509587"/>
              <a:gd name="connsiteX2" fmla="*/ 242888 w 4905375"/>
              <a:gd name="connsiteY2" fmla="*/ 266700 h 509587"/>
              <a:gd name="connsiteX3" fmla="*/ 0 w 4905375"/>
              <a:gd name="connsiteY3" fmla="*/ 509588 h 509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05375" h="509587">
                <a:moveTo>
                  <a:pt x="4905375" y="0"/>
                </a:moveTo>
                <a:cubicBezTo>
                  <a:pt x="4905375" y="147295"/>
                  <a:pt x="4785970" y="266700"/>
                  <a:pt x="4638675" y="266700"/>
                </a:cubicBezTo>
                <a:lnTo>
                  <a:pt x="242888" y="266700"/>
                </a:lnTo>
                <a:cubicBezTo>
                  <a:pt x="108745" y="266700"/>
                  <a:pt x="0" y="375444"/>
                  <a:pt x="0" y="509588"/>
                </a:cubicBezTo>
              </a:path>
            </a:pathLst>
          </a:custGeom>
          <a:noFill/>
          <a:ln w="34925" cap="flat">
            <a:gradFill flip="none" rotWithShape="1">
              <a:gsLst>
                <a:gs pos="26000">
                  <a:schemeClr val="tx1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  <a:prstDash val="solid"/>
            <a:miter/>
            <a:tailEnd type="triangle" w="lg" len="lg"/>
          </a:ln>
        </p:spPr>
        <p:txBody>
          <a:bodyPr rtlCol="0" anchor="ctr">
            <a:noAutofit/>
          </a:bodyPr>
          <a:lstStyle/>
          <a:p>
            <a:endParaRPr lang="en-GB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695FEF4D-9D25-B298-59CF-F0EA62C9281D}"/>
              </a:ext>
            </a:extLst>
          </p:cNvPr>
          <p:cNvSpPr>
            <a:spLocks/>
          </p:cNvSpPr>
          <p:nvPr/>
        </p:nvSpPr>
        <p:spPr>
          <a:xfrm>
            <a:off x="12801600" y="2970017"/>
            <a:ext cx="6908407" cy="803697"/>
          </a:xfrm>
          <a:custGeom>
            <a:avLst/>
            <a:gdLst>
              <a:gd name="connsiteX0" fmla="*/ 0 w 4905375"/>
              <a:gd name="connsiteY0" fmla="*/ 0 h 509587"/>
              <a:gd name="connsiteX1" fmla="*/ 266700 w 4905375"/>
              <a:gd name="connsiteY1" fmla="*/ 266700 h 509587"/>
              <a:gd name="connsiteX2" fmla="*/ 4662488 w 4905375"/>
              <a:gd name="connsiteY2" fmla="*/ 266700 h 509587"/>
              <a:gd name="connsiteX3" fmla="*/ 4905375 w 4905375"/>
              <a:gd name="connsiteY3" fmla="*/ 509588 h 509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05375" h="509587">
                <a:moveTo>
                  <a:pt x="0" y="0"/>
                </a:moveTo>
                <a:cubicBezTo>
                  <a:pt x="0" y="147295"/>
                  <a:pt x="119406" y="266700"/>
                  <a:pt x="266700" y="266700"/>
                </a:cubicBezTo>
                <a:lnTo>
                  <a:pt x="4662488" y="266700"/>
                </a:lnTo>
                <a:cubicBezTo>
                  <a:pt x="4796600" y="266700"/>
                  <a:pt x="4905375" y="375444"/>
                  <a:pt x="4905375" y="509588"/>
                </a:cubicBezTo>
              </a:path>
            </a:pathLst>
          </a:custGeom>
          <a:noFill/>
          <a:ln w="34925" cap="flat">
            <a:gradFill flip="none" rotWithShape="1">
              <a:gsLst>
                <a:gs pos="26000">
                  <a:schemeClr val="tx1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  <a:prstDash val="solid"/>
            <a:miter/>
            <a:tailEnd type="triangle" w="lg" len="lg"/>
          </a:ln>
        </p:spPr>
        <p:txBody>
          <a:bodyPr rtlCol="0" anchor="ctr">
            <a:noAutofit/>
          </a:bodyPr>
          <a:lstStyle/>
          <a:p>
            <a:endParaRPr lang="en-GB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9A6414A-2818-45D5-B754-B8B6EC08DC1A}"/>
              </a:ext>
            </a:extLst>
          </p:cNvPr>
          <p:cNvCxnSpPr>
            <a:cxnSpLocks/>
          </p:cNvCxnSpPr>
          <p:nvPr/>
        </p:nvCxnSpPr>
        <p:spPr>
          <a:xfrm>
            <a:off x="12191206" y="3077029"/>
            <a:ext cx="0" cy="696685"/>
          </a:xfrm>
          <a:prstGeom prst="line">
            <a:avLst/>
          </a:prstGeom>
          <a:noFill/>
          <a:ln w="34925" cap="flat">
            <a:gradFill flip="none" rotWithShape="1">
              <a:gsLst>
                <a:gs pos="26000">
                  <a:schemeClr val="tx1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  <a:prstDash val="solid"/>
            <a:miter/>
            <a:tailEnd type="triangle" w="lg" len="lg"/>
          </a:ln>
        </p:spPr>
      </p:cxnSp>
    </p:spTree>
    <p:extLst>
      <p:ext uri="{BB962C8B-B14F-4D97-AF65-F5344CB8AC3E}">
        <p14:creationId xmlns:p14="http://schemas.microsoft.com/office/powerpoint/2010/main" val="1164232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3EDAB40-79FE-C102-98DA-5114ED39E1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5901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EDAB40-79FE-C102-98DA-5114ED39E1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4390266-B422-1E02-7F75-8DA22E8740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2606" y="1681842"/>
            <a:ext cx="22597200" cy="895502"/>
          </a:xfrm>
        </p:spPr>
        <p:txBody>
          <a:bodyPr vert="horz"/>
          <a:lstStyle/>
          <a:p>
            <a:r>
              <a:rPr lang="ru-RU" sz="7200" dirty="0"/>
              <a:t>быстрее = </a:t>
            </a:r>
            <a:r>
              <a:rPr lang="ru-RU" sz="7200" dirty="0">
                <a:solidFill>
                  <a:schemeClr val="accent1"/>
                </a:solidFill>
              </a:rPr>
              <a:t>ценнее</a:t>
            </a:r>
            <a:endParaRPr lang="en-GB" sz="7200" dirty="0">
              <a:solidFill>
                <a:schemeClr val="accent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A3D605A-75B4-C68B-FB44-31ACBF09FBD6}"/>
              </a:ext>
            </a:extLst>
          </p:cNvPr>
          <p:cNvSpPr txBox="1"/>
          <p:nvPr/>
        </p:nvSpPr>
        <p:spPr>
          <a:xfrm>
            <a:off x="-5338274" y="2539859"/>
            <a:ext cx="4027738" cy="90178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pPr lvl="2"/>
            <a:r>
              <a:rPr lang="ru-RU" dirty="0"/>
              <a:t>Отменяет заказ такси, если машина </a:t>
            </a:r>
            <a:br>
              <a:rPr lang="ru-RU" dirty="0"/>
            </a:br>
            <a:r>
              <a:rPr lang="ru-RU" dirty="0"/>
              <a:t>не двигается</a:t>
            </a:r>
            <a:br>
              <a:rPr lang="ru-RU" dirty="0"/>
            </a:br>
            <a:endParaRPr lang="ru-RU" dirty="0"/>
          </a:p>
          <a:p>
            <a:pPr lvl="2"/>
            <a:r>
              <a:rPr lang="ru-RU" dirty="0"/>
              <a:t>Делает параллельный заказ в другом приложении, не дожидаясь ответа от первого</a:t>
            </a:r>
            <a:br>
              <a:rPr lang="ru-RU" dirty="0"/>
            </a:br>
            <a:endParaRPr lang="ru-RU" dirty="0"/>
          </a:p>
          <a:p>
            <a:pPr lvl="2"/>
            <a:r>
              <a:rPr lang="ru-RU" dirty="0"/>
              <a:t>Заказывает такси на 800 метров — потому что это быстрее, </a:t>
            </a:r>
            <a:br>
              <a:rPr lang="ru-RU" dirty="0"/>
            </a:br>
            <a:r>
              <a:rPr lang="ru-RU" dirty="0"/>
              <a:t>чем пешком</a:t>
            </a:r>
            <a:br>
              <a:rPr lang="ru-RU" dirty="0"/>
            </a:br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8A6951-4DCD-302B-8829-CC2F19B0B63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92175" y="584708"/>
            <a:ext cx="3089275" cy="45051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7FEA312-40AF-540E-7339-F116FCED7CCA}"/>
              </a:ext>
            </a:extLst>
          </p:cNvPr>
          <p:cNvSpPr txBox="1"/>
          <p:nvPr/>
        </p:nvSpPr>
        <p:spPr>
          <a:xfrm>
            <a:off x="9211217" y="3235766"/>
            <a:ext cx="4027739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dirty="0">
                <a:solidFill>
                  <a:schemeClr val="accent1"/>
                </a:solidFill>
                <a:latin typeface="+mj-lt"/>
              </a:rPr>
              <a:t>удовлетворенность падает </a:t>
            </a:r>
            <a:endParaRPr lang="en-GB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2" name="Oval 7">
            <a:extLst>
              <a:ext uri="{FF2B5EF4-FFF2-40B4-BE49-F238E27FC236}">
                <a16:creationId xmlns:a16="http://schemas.microsoft.com/office/drawing/2014/main" id="{9FC571F6-C51B-F3D2-4635-A67A72AF41D3}"/>
              </a:ext>
            </a:extLst>
          </p:cNvPr>
          <p:cNvSpPr/>
          <p:nvPr/>
        </p:nvSpPr>
        <p:spPr>
          <a:xfrm>
            <a:off x="892606" y="3373138"/>
            <a:ext cx="697620" cy="697620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3200" dirty="0">
                <a:solidFill>
                  <a:schemeClr val="tx1"/>
                </a:solidFill>
                <a:latin typeface="+mj-lt"/>
              </a:rPr>
              <a:t>1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98DDCD4-1463-F4DD-F0BA-9683115BC826}"/>
              </a:ext>
            </a:extLst>
          </p:cNvPr>
          <p:cNvSpPr txBox="1"/>
          <p:nvPr/>
        </p:nvSpPr>
        <p:spPr>
          <a:xfrm>
            <a:off x="2024289" y="3229505"/>
            <a:ext cx="4643211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dirty="0">
                <a:solidFill>
                  <a:schemeClr val="bg1"/>
                </a:solidFill>
                <a:latin typeface="+mj-lt"/>
              </a:rPr>
              <a:t>воспринимаемое время доставки снижается</a:t>
            </a:r>
            <a:endParaRPr lang="en-GB" dirty="0">
              <a:solidFill>
                <a:schemeClr val="bg1"/>
              </a:solidFill>
              <a:latin typeface="+mj-lt"/>
            </a:endParaRPr>
          </a:p>
        </p:txBody>
      </p:sp>
      <p:graphicFrame>
        <p:nvGraphicFramePr>
          <p:cNvPr id="42" name="Chart 18">
            <a:extLst>
              <a:ext uri="{FF2B5EF4-FFF2-40B4-BE49-F238E27FC236}">
                <a16:creationId xmlns:a16="http://schemas.microsoft.com/office/drawing/2014/main" id="{D8E301B0-A5CF-9BA0-B282-8413A1E094B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59113778"/>
              </p:ext>
            </p:extLst>
          </p:nvPr>
        </p:nvGraphicFramePr>
        <p:xfrm>
          <a:off x="1962257" y="5058970"/>
          <a:ext cx="4324243" cy="24659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8" name="TextBox 47">
            <a:extLst>
              <a:ext uri="{FF2B5EF4-FFF2-40B4-BE49-F238E27FC236}">
                <a16:creationId xmlns:a16="http://schemas.microsoft.com/office/drawing/2014/main" id="{59F7AB8A-6229-7E9D-7AC6-9635F492D491}"/>
              </a:ext>
            </a:extLst>
          </p:cNvPr>
          <p:cNvSpPr txBox="1"/>
          <p:nvPr/>
        </p:nvSpPr>
        <p:spPr>
          <a:xfrm>
            <a:off x="9211217" y="8388745"/>
            <a:ext cx="4027739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dirty="0">
                <a:solidFill>
                  <a:schemeClr val="accent1"/>
                </a:solidFill>
                <a:latin typeface="+mj-lt"/>
              </a:rPr>
              <a:t>удовлетворенность на том же уровне </a:t>
            </a:r>
            <a:endParaRPr lang="en-GB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49" name="Oval 7">
            <a:extLst>
              <a:ext uri="{FF2B5EF4-FFF2-40B4-BE49-F238E27FC236}">
                <a16:creationId xmlns:a16="http://schemas.microsoft.com/office/drawing/2014/main" id="{D244AD46-B134-C184-A79B-BAEF2B386E6E}"/>
              </a:ext>
            </a:extLst>
          </p:cNvPr>
          <p:cNvSpPr/>
          <p:nvPr/>
        </p:nvSpPr>
        <p:spPr>
          <a:xfrm>
            <a:off x="892606" y="8526117"/>
            <a:ext cx="697620" cy="697620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3200" dirty="0">
                <a:solidFill>
                  <a:schemeClr val="tx1"/>
                </a:solidFill>
                <a:latin typeface="+mj-lt"/>
              </a:rPr>
              <a:t>2</a:t>
            </a:r>
            <a:endParaRPr lang="en-GB" sz="32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C5D2A91F-34FB-61C3-9286-D122FFC0170B}"/>
              </a:ext>
            </a:extLst>
          </p:cNvPr>
          <p:cNvSpPr txBox="1"/>
          <p:nvPr/>
        </p:nvSpPr>
        <p:spPr>
          <a:xfrm>
            <a:off x="2024289" y="8382484"/>
            <a:ext cx="5424261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dirty="0">
                <a:solidFill>
                  <a:schemeClr val="bg1"/>
                </a:solidFill>
                <a:latin typeface="+mj-lt"/>
              </a:rPr>
              <a:t>воспринимаемая</a:t>
            </a:r>
            <a:br>
              <a:rPr lang="ru-RU" dirty="0">
                <a:solidFill>
                  <a:schemeClr val="bg1"/>
                </a:solidFill>
                <a:latin typeface="+mj-lt"/>
              </a:rPr>
            </a:br>
            <a:r>
              <a:rPr lang="ru-RU" dirty="0">
                <a:solidFill>
                  <a:schemeClr val="bg1"/>
                </a:solidFill>
                <a:latin typeface="+mj-lt"/>
              </a:rPr>
              <a:t>стоимость доставки растёт </a:t>
            </a:r>
            <a:endParaRPr lang="en-GB" dirty="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59" name="Прямая соединительная линия 36">
            <a:extLst>
              <a:ext uri="{FF2B5EF4-FFF2-40B4-BE49-F238E27FC236}">
                <a16:creationId xmlns:a16="http://schemas.microsoft.com/office/drawing/2014/main" id="{B9A2B1C7-1E70-F27D-BC2F-E2CB52321DA8}"/>
              </a:ext>
            </a:extLst>
          </p:cNvPr>
          <p:cNvCxnSpPr>
            <a:cxnSpLocks/>
          </p:cNvCxnSpPr>
          <p:nvPr/>
        </p:nvCxnSpPr>
        <p:spPr>
          <a:xfrm>
            <a:off x="7925900" y="3390161"/>
            <a:ext cx="0" cy="4001239"/>
          </a:xfrm>
          <a:prstGeom prst="line">
            <a:avLst/>
          </a:prstGeom>
          <a:solidFill>
            <a:schemeClr val="accent4">
              <a:alpha val="15177"/>
            </a:schemeClr>
          </a:solidFill>
          <a:ln>
            <a:gradFill flip="none" rotWithShape="1">
              <a:gsLst>
                <a:gs pos="0">
                  <a:schemeClr val="bg2">
                    <a:alpha val="50000"/>
                  </a:schemeClr>
                </a:gs>
                <a:gs pos="100000">
                  <a:schemeClr val="bg1">
                    <a:alpha val="10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Oval 7">
            <a:extLst>
              <a:ext uri="{FF2B5EF4-FFF2-40B4-BE49-F238E27FC236}">
                <a16:creationId xmlns:a16="http://schemas.microsoft.com/office/drawing/2014/main" id="{7CDEEB7E-4C0B-87E5-DDEA-D5415DE4D478}"/>
              </a:ext>
            </a:extLst>
          </p:cNvPr>
          <p:cNvSpPr/>
          <p:nvPr/>
        </p:nvSpPr>
        <p:spPr>
          <a:xfrm>
            <a:off x="7577090" y="7619007"/>
            <a:ext cx="697620" cy="697620"/>
          </a:xfrm>
          <a:prstGeom prst="ellipse">
            <a:avLst/>
          </a:prstGeom>
          <a:solidFill>
            <a:schemeClr val="accent4">
              <a:alpha val="15177"/>
            </a:schemeClr>
          </a:solidFill>
          <a:ln>
            <a:gradFill flip="none" rotWithShape="1">
              <a:gsLst>
                <a:gs pos="0">
                  <a:schemeClr val="bg2">
                    <a:alpha val="50000"/>
                  </a:schemeClr>
                </a:gs>
                <a:gs pos="100000">
                  <a:schemeClr val="bg1">
                    <a:alpha val="10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400" dirty="0">
                <a:latin typeface="+mj-lt"/>
              </a:rPr>
              <a:t>VS</a:t>
            </a:r>
            <a:endParaRPr lang="en-GB" sz="2400" dirty="0">
              <a:latin typeface="+mj-lt"/>
            </a:endParaRPr>
          </a:p>
        </p:txBody>
      </p:sp>
      <p:cxnSp>
        <p:nvCxnSpPr>
          <p:cNvPr id="63" name="Прямая соединительная линия 36">
            <a:extLst>
              <a:ext uri="{FF2B5EF4-FFF2-40B4-BE49-F238E27FC236}">
                <a16:creationId xmlns:a16="http://schemas.microsoft.com/office/drawing/2014/main" id="{BDD40F5C-CE22-48DC-AD48-9389EF1C96F9}"/>
              </a:ext>
            </a:extLst>
          </p:cNvPr>
          <p:cNvCxnSpPr>
            <a:cxnSpLocks/>
          </p:cNvCxnSpPr>
          <p:nvPr/>
        </p:nvCxnSpPr>
        <p:spPr>
          <a:xfrm>
            <a:off x="7925900" y="8646528"/>
            <a:ext cx="0" cy="4445358"/>
          </a:xfrm>
          <a:prstGeom prst="line">
            <a:avLst/>
          </a:prstGeom>
          <a:solidFill>
            <a:schemeClr val="accent4">
              <a:alpha val="15177"/>
            </a:schemeClr>
          </a:solidFill>
          <a:ln>
            <a:gradFill flip="none" rotWithShape="1">
              <a:gsLst>
                <a:gs pos="0">
                  <a:schemeClr val="bg2">
                    <a:alpha val="50000"/>
                  </a:schemeClr>
                </a:gs>
                <a:gs pos="100000">
                  <a:schemeClr val="bg1">
                    <a:alpha val="10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aphicFrame>
        <p:nvGraphicFramePr>
          <p:cNvPr id="64" name="Chart 18">
            <a:extLst>
              <a:ext uri="{FF2B5EF4-FFF2-40B4-BE49-F238E27FC236}">
                <a16:creationId xmlns:a16="http://schemas.microsoft.com/office/drawing/2014/main" id="{7A1BDAF3-DA08-F3E5-6D86-EED27C48FB7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57296170"/>
              </p:ext>
            </p:extLst>
          </p:nvPr>
        </p:nvGraphicFramePr>
        <p:xfrm>
          <a:off x="9211217" y="5058970"/>
          <a:ext cx="4324243" cy="24659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65" name="Chart 18">
            <a:extLst>
              <a:ext uri="{FF2B5EF4-FFF2-40B4-BE49-F238E27FC236}">
                <a16:creationId xmlns:a16="http://schemas.microsoft.com/office/drawing/2014/main" id="{B6B3FCAA-265C-7373-B0E8-16643C09341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50113424"/>
              </p:ext>
            </p:extLst>
          </p:nvPr>
        </p:nvGraphicFramePr>
        <p:xfrm>
          <a:off x="1962257" y="10326509"/>
          <a:ext cx="4324243" cy="24659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68" name="TextBox 67">
            <a:extLst>
              <a:ext uri="{FF2B5EF4-FFF2-40B4-BE49-F238E27FC236}">
                <a16:creationId xmlns:a16="http://schemas.microsoft.com/office/drawing/2014/main" id="{75735609-4ADF-A9F5-0C1B-B8F65DAB9833}"/>
              </a:ext>
            </a:extLst>
          </p:cNvPr>
          <p:cNvSpPr txBox="1"/>
          <p:nvPr/>
        </p:nvSpPr>
        <p:spPr>
          <a:xfrm>
            <a:off x="2024289" y="4381220"/>
            <a:ext cx="2903652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2800" dirty="0">
                <a:solidFill>
                  <a:schemeClr val="bg1">
                    <a:alpha val="26000"/>
                  </a:schemeClr>
                </a:solidFill>
              </a:rPr>
              <a:t>среднее, мин.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BAD9F8A3-0574-3148-2072-928821CCB1E4}"/>
              </a:ext>
            </a:extLst>
          </p:cNvPr>
          <p:cNvSpPr txBox="1"/>
          <p:nvPr/>
        </p:nvSpPr>
        <p:spPr>
          <a:xfrm>
            <a:off x="9216121" y="4381220"/>
            <a:ext cx="2260315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2800" dirty="0">
                <a:solidFill>
                  <a:schemeClr val="bg1">
                    <a:alpha val="26000"/>
                  </a:schemeClr>
                </a:solidFill>
              </a:rPr>
              <a:t>%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36D278B9-AABD-7E14-0670-EB0F332327D1}"/>
              </a:ext>
            </a:extLst>
          </p:cNvPr>
          <p:cNvSpPr txBox="1"/>
          <p:nvPr/>
        </p:nvSpPr>
        <p:spPr>
          <a:xfrm>
            <a:off x="2024289" y="9608592"/>
            <a:ext cx="3489027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2800" dirty="0">
                <a:solidFill>
                  <a:schemeClr val="bg1">
                    <a:alpha val="26000"/>
                  </a:schemeClr>
                </a:solidFill>
              </a:rPr>
              <a:t>медианная, в руб.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3D90C16F-6617-EFDB-9AC8-3A07C767BD87}"/>
              </a:ext>
            </a:extLst>
          </p:cNvPr>
          <p:cNvSpPr txBox="1"/>
          <p:nvPr/>
        </p:nvSpPr>
        <p:spPr>
          <a:xfrm>
            <a:off x="9216121" y="9608592"/>
            <a:ext cx="2260315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2800" dirty="0">
                <a:solidFill>
                  <a:schemeClr val="bg1">
                    <a:alpha val="26000"/>
                  </a:schemeClr>
                </a:solidFill>
              </a:rPr>
              <a:t>%</a:t>
            </a:r>
          </a:p>
        </p:txBody>
      </p:sp>
      <p:graphicFrame>
        <p:nvGraphicFramePr>
          <p:cNvPr id="72" name="Chart 18">
            <a:extLst>
              <a:ext uri="{FF2B5EF4-FFF2-40B4-BE49-F238E27FC236}">
                <a16:creationId xmlns:a16="http://schemas.microsoft.com/office/drawing/2014/main" id="{52988B73-9E1E-DB50-EE10-71F0E83FBB8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19735941"/>
              </p:ext>
            </p:extLst>
          </p:nvPr>
        </p:nvGraphicFramePr>
        <p:xfrm>
          <a:off x="9211217" y="10326509"/>
          <a:ext cx="4324243" cy="24659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pSp>
        <p:nvGrpSpPr>
          <p:cNvPr id="80" name="Group 79">
            <a:extLst>
              <a:ext uri="{FF2B5EF4-FFF2-40B4-BE49-F238E27FC236}">
                <a16:creationId xmlns:a16="http://schemas.microsoft.com/office/drawing/2014/main" id="{D5BA4303-169C-766D-A138-CDF00B077C53}"/>
              </a:ext>
            </a:extLst>
          </p:cNvPr>
          <p:cNvGrpSpPr/>
          <p:nvPr/>
        </p:nvGrpSpPr>
        <p:grpSpPr>
          <a:xfrm rot="10800000">
            <a:off x="4950324" y="5448349"/>
            <a:ext cx="416676" cy="416676"/>
            <a:chOff x="9775074" y="8258874"/>
            <a:chExt cx="907695" cy="907695"/>
          </a:xfrm>
        </p:grpSpPr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6FAC8763-80FE-2CE4-0643-7C3628845815}"/>
                </a:ext>
              </a:extLst>
            </p:cNvPr>
            <p:cNvSpPr/>
            <p:nvPr/>
          </p:nvSpPr>
          <p:spPr>
            <a:xfrm>
              <a:off x="9775074" y="8258874"/>
              <a:ext cx="907695" cy="907695"/>
            </a:xfrm>
            <a:prstGeom prst="ellipse">
              <a:avLst/>
            </a:prstGeom>
            <a:solidFill>
              <a:srgbClr val="FFFFFF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tIns="216000" rIns="90000" bIns="216000" rtlCol="0" anchor="ctr" anchorCtr="0"/>
            <a:lstStyle/>
            <a:p>
              <a:pPr algn="ctr">
                <a:lnSpc>
                  <a:spcPct val="90000"/>
                </a:lnSpc>
              </a:pPr>
              <a:endParaRPr lang="en-US" sz="3200" dirty="0">
                <a:ln w="0"/>
                <a:solidFill>
                  <a:schemeClr val="tx1"/>
                </a:solidFill>
              </a:endParaRPr>
            </a:p>
          </p:txBody>
        </p:sp>
        <p:pic>
          <p:nvPicPr>
            <p:cNvPr id="79" name="Graphic 78">
              <a:extLst>
                <a:ext uri="{FF2B5EF4-FFF2-40B4-BE49-F238E27FC236}">
                  <a16:creationId xmlns:a16="http://schemas.microsoft.com/office/drawing/2014/main" id="{9DCF98DE-1AB2-13B9-362F-53B700B8EBD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16200000">
              <a:off x="9950321" y="8490942"/>
              <a:ext cx="557201" cy="443559"/>
            </a:xfrm>
            <a:prstGeom prst="rect">
              <a:avLst/>
            </a:prstGeom>
          </p:spPr>
        </p:pic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D0A0316A-510E-122F-6A22-D54E3148965C}"/>
              </a:ext>
            </a:extLst>
          </p:cNvPr>
          <p:cNvGrpSpPr/>
          <p:nvPr/>
        </p:nvGrpSpPr>
        <p:grpSpPr>
          <a:xfrm rot="10800000">
            <a:off x="12201355" y="5784578"/>
            <a:ext cx="416676" cy="416676"/>
            <a:chOff x="9775074" y="8258874"/>
            <a:chExt cx="907695" cy="907695"/>
          </a:xfrm>
        </p:grpSpPr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EB3D31B4-F364-F6B6-6525-F82B65694D65}"/>
                </a:ext>
              </a:extLst>
            </p:cNvPr>
            <p:cNvSpPr/>
            <p:nvPr/>
          </p:nvSpPr>
          <p:spPr>
            <a:xfrm>
              <a:off x="9775074" y="8258874"/>
              <a:ext cx="907695" cy="907695"/>
            </a:xfrm>
            <a:prstGeom prst="ellipse">
              <a:avLst/>
            </a:prstGeom>
            <a:solidFill>
              <a:srgbClr val="FFFFFF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tIns="216000" rIns="90000" bIns="216000" rtlCol="0" anchor="ctr" anchorCtr="0"/>
            <a:lstStyle/>
            <a:p>
              <a:pPr algn="ctr">
                <a:lnSpc>
                  <a:spcPct val="90000"/>
                </a:lnSpc>
              </a:pPr>
              <a:endParaRPr lang="en-US" sz="3200" dirty="0">
                <a:ln w="0"/>
                <a:solidFill>
                  <a:schemeClr val="tx1"/>
                </a:solidFill>
              </a:endParaRPr>
            </a:p>
          </p:txBody>
        </p:sp>
        <p:pic>
          <p:nvPicPr>
            <p:cNvPr id="83" name="Graphic 82">
              <a:extLst>
                <a:ext uri="{FF2B5EF4-FFF2-40B4-BE49-F238E27FC236}">
                  <a16:creationId xmlns:a16="http://schemas.microsoft.com/office/drawing/2014/main" id="{44952BC0-B96A-C1E2-58B9-BA4029C06E3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16200000">
              <a:off x="9950321" y="8490942"/>
              <a:ext cx="557201" cy="443559"/>
            </a:xfrm>
            <a:prstGeom prst="rect">
              <a:avLst/>
            </a:prstGeom>
          </p:spPr>
        </p:pic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6774D37C-0F49-B7D0-ECE8-07B962FAC2BE}"/>
              </a:ext>
            </a:extLst>
          </p:cNvPr>
          <p:cNvGrpSpPr/>
          <p:nvPr/>
        </p:nvGrpSpPr>
        <p:grpSpPr>
          <a:xfrm>
            <a:off x="4950323" y="10998619"/>
            <a:ext cx="416676" cy="416676"/>
            <a:chOff x="9775074" y="8258874"/>
            <a:chExt cx="907695" cy="907695"/>
          </a:xfrm>
        </p:grpSpPr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C339C384-3D7B-DD4D-8E45-A634D3469B66}"/>
                </a:ext>
              </a:extLst>
            </p:cNvPr>
            <p:cNvSpPr/>
            <p:nvPr/>
          </p:nvSpPr>
          <p:spPr>
            <a:xfrm>
              <a:off x="9775074" y="8258874"/>
              <a:ext cx="907695" cy="907695"/>
            </a:xfrm>
            <a:prstGeom prst="ellipse">
              <a:avLst/>
            </a:prstGeom>
            <a:solidFill>
              <a:srgbClr val="FFFFFF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tIns="216000" rIns="90000" bIns="216000" rtlCol="0" anchor="ctr" anchorCtr="0"/>
            <a:lstStyle/>
            <a:p>
              <a:pPr algn="ctr">
                <a:lnSpc>
                  <a:spcPct val="90000"/>
                </a:lnSpc>
              </a:pPr>
              <a:endParaRPr lang="en-US" sz="3200" dirty="0">
                <a:ln w="0"/>
                <a:solidFill>
                  <a:schemeClr val="tx1"/>
                </a:solidFill>
              </a:endParaRPr>
            </a:p>
          </p:txBody>
        </p:sp>
        <p:pic>
          <p:nvPicPr>
            <p:cNvPr id="86" name="Graphic 85">
              <a:extLst>
                <a:ext uri="{FF2B5EF4-FFF2-40B4-BE49-F238E27FC236}">
                  <a16:creationId xmlns:a16="http://schemas.microsoft.com/office/drawing/2014/main" id="{A64B4CA9-75D9-1577-9711-D0DEF6C90A4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16200000">
              <a:off x="9950321" y="8490942"/>
              <a:ext cx="557201" cy="443559"/>
            </a:xfrm>
            <a:prstGeom prst="rect">
              <a:avLst/>
            </a:prstGeom>
          </p:spPr>
        </p:pic>
      </p:grpSp>
      <p:sp>
        <p:nvSpPr>
          <p:cNvPr id="88" name="Oval 87">
            <a:extLst>
              <a:ext uri="{FF2B5EF4-FFF2-40B4-BE49-F238E27FC236}">
                <a16:creationId xmlns:a16="http://schemas.microsoft.com/office/drawing/2014/main" id="{9090AAB4-8D02-EF06-A12E-BEDD6E7A5655}"/>
              </a:ext>
            </a:extLst>
          </p:cNvPr>
          <p:cNvSpPr/>
          <p:nvPr/>
        </p:nvSpPr>
        <p:spPr>
          <a:xfrm>
            <a:off x="12201355" y="11351156"/>
            <a:ext cx="416676" cy="416676"/>
          </a:xfrm>
          <a:prstGeom prst="ellipse">
            <a:avLst/>
          </a:prstGeom>
          <a:solidFill>
            <a:srgbClr val="FFFFFF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88000" rIns="90000" bIns="216000" rtlCol="0" anchor="ctr" anchorCtr="0"/>
          <a:lstStyle/>
          <a:p>
            <a:pPr algn="ctr">
              <a:lnSpc>
                <a:spcPct val="90000"/>
              </a:lnSpc>
            </a:pPr>
            <a:r>
              <a:rPr lang="en-US" sz="3200" dirty="0">
                <a:ln w="0"/>
                <a:solidFill>
                  <a:schemeClr val="tx1"/>
                </a:solidFill>
                <a:latin typeface="+mj-lt"/>
              </a:rPr>
              <a:t>=</a:t>
            </a:r>
          </a:p>
        </p:txBody>
      </p:sp>
      <p:pic>
        <p:nvPicPr>
          <p:cNvPr id="2" name="Picture 81">
            <a:extLst>
              <a:ext uri="{FF2B5EF4-FFF2-40B4-BE49-F238E27FC236}">
                <a16:creationId xmlns:a16="http://schemas.microsoft.com/office/drawing/2014/main" id="{CF46E913-0FD0-A2B1-AB61-E07D731CAD1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55" t="15418" r="41430" b="28100"/>
          <a:stretch/>
        </p:blipFill>
        <p:spPr>
          <a:xfrm>
            <a:off x="12905978" y="-1"/>
            <a:ext cx="11476435" cy="1371600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C31FFE25-0858-F0B5-11E8-9302D44ACE48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3924916" y="-1038334"/>
            <a:ext cx="10457497" cy="14754334"/>
          </a:xfrm>
          <a:prstGeom prst="rect">
            <a:avLst/>
          </a:prstGeom>
          <a:effectLst>
            <a:outerShdw blurRad="863600" dist="2311400" dir="3240000" algn="l" rotWithShape="0">
              <a:prstClr val="black">
                <a:alpha val="40000"/>
              </a:prstClr>
            </a:outerShdw>
          </a:effec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8A7C6E2-0BCA-E3B2-928A-E091EE4C5460}"/>
              </a:ext>
            </a:extLst>
          </p:cNvPr>
          <p:cNvSpPr txBox="1"/>
          <p:nvPr/>
        </p:nvSpPr>
        <p:spPr>
          <a:xfrm>
            <a:off x="892175" y="13131292"/>
            <a:ext cx="8127471" cy="2769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1800" dirty="0">
                <a:solidFill>
                  <a:schemeClr val="bg1">
                    <a:alpha val="56000"/>
                  </a:schemeClr>
                </a:solidFill>
                <a:latin typeface="+mn-lt"/>
              </a:rPr>
              <a:t>*по данным Городских сервисов Яндекса </a:t>
            </a:r>
          </a:p>
        </p:txBody>
      </p:sp>
    </p:spTree>
    <p:extLst>
      <p:ext uri="{BB962C8B-B14F-4D97-AF65-F5344CB8AC3E}">
        <p14:creationId xmlns:p14="http://schemas.microsoft.com/office/powerpoint/2010/main" val="10906497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3EDAB40-79FE-C102-98DA-5114ED39E1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3591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EDAB40-79FE-C102-98DA-5114ED39E1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>
            <a:extLst>
              <a:ext uri="{FF2B5EF4-FFF2-40B4-BE49-F238E27FC236}">
                <a16:creationId xmlns:a16="http://schemas.microsoft.com/office/drawing/2014/main" id="{3F173730-173E-132D-3BD6-D58373121EDC}"/>
              </a:ext>
            </a:extLst>
          </p:cNvPr>
          <p:cNvSpPr/>
          <p:nvPr/>
        </p:nvSpPr>
        <p:spPr>
          <a:xfrm>
            <a:off x="22337486" y="12496800"/>
            <a:ext cx="1524000" cy="994952"/>
          </a:xfrm>
          <a:prstGeom prst="rect">
            <a:avLst/>
          </a:prstGeom>
          <a:solidFill>
            <a:srgbClr val="292B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l"/>
            <a:endParaRPr lang="en-GB" sz="3200" dirty="0" err="1">
              <a:solidFill>
                <a:schemeClr val="tx1"/>
              </a:solidFill>
            </a:endParaRPr>
          </a:p>
        </p:txBody>
      </p:sp>
      <p:pic>
        <p:nvPicPr>
          <p:cNvPr id="32" name="Рисунок 12">
            <a:extLst>
              <a:ext uri="{FF2B5EF4-FFF2-40B4-BE49-F238E27FC236}">
                <a16:creationId xmlns:a16="http://schemas.microsoft.com/office/drawing/2014/main" id="{3279C305-3610-777F-D205-10DA27C6D5B5}"/>
              </a:ext>
            </a:extLst>
          </p:cNvPr>
          <p:cNvPicPr>
            <a:picLocks/>
          </p:cNvPicPr>
          <p:nvPr/>
        </p:nvPicPr>
        <p:blipFill>
          <a:blip r:embed="rId5"/>
          <a:srcRect r="919"/>
          <a:stretch/>
        </p:blipFill>
        <p:spPr>
          <a:xfrm>
            <a:off x="892605" y="7460751"/>
            <a:ext cx="10863966" cy="5478689"/>
          </a:xfrm>
          <a:prstGeom prst="roundRect">
            <a:avLst>
              <a:gd name="adj" fmla="val 4951"/>
            </a:avLst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187FA89-714C-57C5-1893-E9AFF6E1DAF7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12489617" y="7460751"/>
            <a:ext cx="10995426" cy="5478689"/>
          </a:xfrm>
          <a:prstGeom prst="roundRect">
            <a:avLst>
              <a:gd name="adj" fmla="val 5216"/>
            </a:avLst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4A6DB55B-6C8B-B910-1FFF-E1B6BCB80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2606" y="1681842"/>
            <a:ext cx="22597200" cy="895502"/>
          </a:xfrm>
        </p:spPr>
        <p:txBody>
          <a:bodyPr vert="horz"/>
          <a:lstStyle/>
          <a:p>
            <a:r>
              <a:rPr lang="ru-RU" sz="7200" dirty="0"/>
              <a:t>решения для тех, кто не готов ждать </a:t>
            </a:r>
            <a:endParaRPr lang="en-GB" sz="72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93A17C1-1950-D67D-0981-8EE9239476C9}"/>
              </a:ext>
            </a:extLst>
          </p:cNvPr>
          <p:cNvSpPr txBox="1"/>
          <p:nvPr/>
        </p:nvSpPr>
        <p:spPr>
          <a:xfrm>
            <a:off x="827995" y="6165855"/>
            <a:ext cx="9983889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2438248">
              <a:buClr>
                <a:srgbClr val="000000"/>
              </a:buClr>
            </a:pPr>
            <a:r>
              <a:rPr lang="ru-RU" sz="3200" kern="0" dirty="0">
                <a:solidFill>
                  <a:schemeClr val="accent3"/>
                </a:solidFill>
                <a:cs typeface="Arial"/>
                <a:sym typeface="Arial"/>
              </a:rPr>
              <a:t>от всех пользователей такси </a:t>
            </a:r>
            <a:br>
              <a:rPr lang="ru-RU" sz="3200" kern="0" dirty="0">
                <a:solidFill>
                  <a:schemeClr val="accent3"/>
                </a:solidFill>
                <a:cs typeface="Arial"/>
                <a:sym typeface="Arial"/>
              </a:rPr>
            </a:br>
            <a:r>
              <a:rPr lang="ru-RU" sz="3200" kern="0" dirty="0">
                <a:solidFill>
                  <a:schemeClr val="accent3"/>
                </a:solidFill>
                <a:cs typeface="Arial"/>
                <a:sym typeface="Arial"/>
              </a:rPr>
              <a:t>выбирают тариф «самый быстрый»</a:t>
            </a:r>
          </a:p>
        </p:txBody>
      </p:sp>
      <p:grpSp>
        <p:nvGrpSpPr>
          <p:cNvPr id="2" name="Группа 62">
            <a:extLst>
              <a:ext uri="{FF2B5EF4-FFF2-40B4-BE49-F238E27FC236}">
                <a16:creationId xmlns:a16="http://schemas.microsoft.com/office/drawing/2014/main" id="{0AA56846-AFB4-4F3A-F52E-892086843A85}"/>
              </a:ext>
            </a:extLst>
          </p:cNvPr>
          <p:cNvGrpSpPr>
            <a:grpSpLocks/>
          </p:cNvGrpSpPr>
          <p:nvPr/>
        </p:nvGrpSpPr>
        <p:grpSpPr>
          <a:xfrm>
            <a:off x="10811884" y="7149399"/>
            <a:ext cx="1317250" cy="1317250"/>
            <a:chOff x="11733159" y="4504396"/>
            <a:chExt cx="1227984" cy="1227984"/>
          </a:xfrm>
        </p:grpSpPr>
        <p:sp>
          <p:nvSpPr>
            <p:cNvPr id="6" name="Овал 61">
              <a:extLst>
                <a:ext uri="{FF2B5EF4-FFF2-40B4-BE49-F238E27FC236}">
                  <a16:creationId xmlns:a16="http://schemas.microsoft.com/office/drawing/2014/main" id="{ADAF9F61-8EAC-308C-F444-5764D31CB0FF}"/>
                </a:ext>
              </a:extLst>
            </p:cNvPr>
            <p:cNvSpPr/>
            <p:nvPr/>
          </p:nvSpPr>
          <p:spPr>
            <a:xfrm>
              <a:off x="11733159" y="4504396"/>
              <a:ext cx="1227984" cy="122798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l"/>
              <a:endParaRPr lang="ru-RU" sz="3200" dirty="0" err="1">
                <a:solidFill>
                  <a:schemeClr val="tx1"/>
                </a:solidFill>
              </a:endParaRPr>
            </a:p>
          </p:txBody>
        </p:sp>
        <p:grpSp>
          <p:nvGrpSpPr>
            <p:cNvPr id="7" name="Группа 44">
              <a:extLst>
                <a:ext uri="{FF2B5EF4-FFF2-40B4-BE49-F238E27FC236}">
                  <a16:creationId xmlns:a16="http://schemas.microsoft.com/office/drawing/2014/main" id="{E30A7F85-B4CB-6604-873F-0446757D98D1}"/>
                </a:ext>
              </a:extLst>
            </p:cNvPr>
            <p:cNvGrpSpPr/>
            <p:nvPr/>
          </p:nvGrpSpPr>
          <p:grpSpPr>
            <a:xfrm>
              <a:off x="11858480" y="4629224"/>
              <a:ext cx="977343" cy="978329"/>
              <a:chOff x="4077263" y="5476277"/>
              <a:chExt cx="977343" cy="978329"/>
            </a:xfrm>
          </p:grpSpPr>
          <p:pic>
            <p:nvPicPr>
              <p:cNvPr id="9" name="Image 13" descr=" ">
                <a:extLst>
                  <a:ext uri="{FF2B5EF4-FFF2-40B4-BE49-F238E27FC236}">
                    <a16:creationId xmlns:a16="http://schemas.microsoft.com/office/drawing/2014/main" id="{9A6F4C9F-C56F-54E9-6120-E2B8328DC01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4077263" y="5476277"/>
                <a:ext cx="977343" cy="978329"/>
              </a:xfrm>
              <a:prstGeom prst="rect">
                <a:avLst/>
              </a:prstGeom>
            </p:spPr>
          </p:pic>
          <p:pic>
            <p:nvPicPr>
              <p:cNvPr id="10" name="Image 14" descr=" ">
                <a:extLst>
                  <a:ext uri="{FF2B5EF4-FFF2-40B4-BE49-F238E27FC236}">
                    <a16:creationId xmlns:a16="http://schemas.microsoft.com/office/drawing/2014/main" id="{898E8337-2EB1-A117-E126-A0C1213064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4749963" y="5935694"/>
                <a:ext cx="160531" cy="232499"/>
              </a:xfrm>
              <a:prstGeom prst="rect">
                <a:avLst/>
              </a:prstGeom>
            </p:spPr>
          </p:pic>
        </p:grpSp>
      </p:grpSp>
      <p:grpSp>
        <p:nvGrpSpPr>
          <p:cNvPr id="11" name="Группа 25">
            <a:extLst>
              <a:ext uri="{FF2B5EF4-FFF2-40B4-BE49-F238E27FC236}">
                <a16:creationId xmlns:a16="http://schemas.microsoft.com/office/drawing/2014/main" id="{4A7DF6AA-B4DA-6B98-E614-7434FCBE4737}"/>
              </a:ext>
            </a:extLst>
          </p:cNvPr>
          <p:cNvGrpSpPr>
            <a:grpSpLocks/>
          </p:cNvGrpSpPr>
          <p:nvPr/>
        </p:nvGrpSpPr>
        <p:grpSpPr>
          <a:xfrm>
            <a:off x="22544236" y="7149399"/>
            <a:ext cx="1317250" cy="1317250"/>
            <a:chOff x="9146643" y="3210679"/>
            <a:chExt cx="1477534" cy="1477534"/>
          </a:xfrm>
        </p:grpSpPr>
        <p:sp>
          <p:nvSpPr>
            <p:cNvPr id="12" name="Овал 26">
              <a:extLst>
                <a:ext uri="{FF2B5EF4-FFF2-40B4-BE49-F238E27FC236}">
                  <a16:creationId xmlns:a16="http://schemas.microsoft.com/office/drawing/2014/main" id="{59FCE8A2-19DB-35EA-8623-DEEFAA0054C9}"/>
                </a:ext>
              </a:extLst>
            </p:cNvPr>
            <p:cNvSpPr/>
            <p:nvPr/>
          </p:nvSpPr>
          <p:spPr>
            <a:xfrm>
              <a:off x="9146643" y="3210679"/>
              <a:ext cx="1477534" cy="147753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endParaRPr lang="ru-RU" sz="3200" dirty="0" err="1">
                <a:solidFill>
                  <a:schemeClr val="tx1"/>
                </a:solidFill>
              </a:endParaRPr>
            </a:p>
          </p:txBody>
        </p:sp>
        <p:pic>
          <p:nvPicPr>
            <p:cNvPr id="13" name="Graphic 10">
              <a:extLst>
                <a:ext uri="{FF2B5EF4-FFF2-40B4-BE49-F238E27FC236}">
                  <a16:creationId xmlns:a16="http://schemas.microsoft.com/office/drawing/2014/main" id="{26BBB9E2-7154-CB42-3E02-6B32CC06AAC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9340369" y="3404405"/>
              <a:ext cx="1090083" cy="1090083"/>
            </a:xfrm>
            <a:prstGeom prst="rect">
              <a:avLst/>
            </a:prstGeom>
          </p:spPr>
        </p:pic>
      </p:grpSp>
      <p:sp>
        <p:nvSpPr>
          <p:cNvPr id="21" name="Text Placeholder 29">
            <a:extLst>
              <a:ext uri="{FF2B5EF4-FFF2-40B4-BE49-F238E27FC236}">
                <a16:creationId xmlns:a16="http://schemas.microsoft.com/office/drawing/2014/main" id="{52ECBD9A-547A-442B-4632-50D029A76208}"/>
              </a:ext>
            </a:extLst>
          </p:cNvPr>
          <p:cNvSpPr txBox="1">
            <a:spLocks/>
          </p:cNvSpPr>
          <p:nvPr/>
        </p:nvSpPr>
        <p:spPr>
          <a:xfrm>
            <a:off x="827995" y="3871560"/>
            <a:ext cx="9248192" cy="22759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1pPr>
            <a:lvl2pPr marL="36" marR="0" indent="0" algn="l" defTabSz="1907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lang="en-GB" sz="3200" b="0" i="0" kern="1200" baseline="0">
                <a:solidFill>
                  <a:schemeClr val="tx1"/>
                </a:solidFill>
                <a:latin typeface="Yango Text Medium" panose="020B0504020202020204" pitchFamily="34" charset="-79"/>
                <a:ea typeface="Yango Text Medium" panose="020B0504020202020204" pitchFamily="34" charset="-79"/>
                <a:cs typeface="Yango Text Medium" panose="020B0504020202020204" pitchFamily="34" charset="-79"/>
              </a:defRPr>
            </a:lvl2pPr>
            <a:lvl3pPr marL="360000" marR="0" indent="-360000" algn="l" defTabSz="18286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tabLst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3pPr>
            <a:lvl4pPr marL="720000" indent="-36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System Font Regular"/>
              <a:buChar char="−"/>
              <a:tabLst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Tx/>
              <a:buNone/>
              <a:defRPr sz="2400" b="0" i="0" kern="1200" baseline="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" marR="0" lvl="1" indent="0" algn="l" defTabSz="1907905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Clr>
                <a:srgbClr val="FFFFFF"/>
              </a:buClr>
              <a:buSzPct val="120000"/>
              <a:buFont typeface="Arial Unicode MS" panose="020B0604020202020204" pitchFamily="34" charset="-128"/>
              <a:buNone/>
              <a:tabLst/>
              <a:defRPr/>
            </a:pPr>
            <a:r>
              <a:rPr lang="ru-RU" sz="18300" dirty="0">
                <a:gradFill>
                  <a:gsLst>
                    <a:gs pos="100000">
                      <a:srgbClr val="7E8597"/>
                    </a:gs>
                    <a:gs pos="0">
                      <a:srgbClr val="FFFFFF"/>
                    </a:gs>
                  </a:gsLst>
                  <a:lin ang="10800000" scaled="1"/>
                </a:gradFill>
                <a:latin typeface="YS Geo Medium"/>
                <a:cs typeface="YS Text Bold" pitchFamily="2" charset="77"/>
              </a:rPr>
              <a:t>10%</a:t>
            </a:r>
            <a:endParaRPr kumimoji="0" lang="ru-RU" sz="18300" b="0" i="0" u="none" strike="noStrike" kern="1200" cap="none" spc="0" normalizeH="0" baseline="0" noProof="0" dirty="0">
              <a:ln>
                <a:noFill/>
              </a:ln>
              <a:gradFill>
                <a:gsLst>
                  <a:gs pos="100000">
                    <a:srgbClr val="7E8597"/>
                  </a:gs>
                  <a:gs pos="0">
                    <a:srgbClr val="FFFFFF"/>
                  </a:gs>
                </a:gsLst>
                <a:lin ang="10800000" scaled="1"/>
              </a:gradFill>
              <a:effectLst/>
              <a:uLnTx/>
              <a:uFillTx/>
              <a:latin typeface="YS Geo Medium"/>
              <a:ea typeface="Yango Text" panose="020B0504020202020204" pitchFamily="34" charset="-79"/>
              <a:cs typeface="YS Text Bold" pitchFamily="2" charset="77"/>
            </a:endParaRPr>
          </a:p>
        </p:txBody>
      </p:sp>
      <p:sp>
        <p:nvSpPr>
          <p:cNvPr id="23" name="Text Placeholder 29">
            <a:extLst>
              <a:ext uri="{FF2B5EF4-FFF2-40B4-BE49-F238E27FC236}">
                <a16:creationId xmlns:a16="http://schemas.microsoft.com/office/drawing/2014/main" id="{5C71377F-FE6F-2C43-CA74-E9F4F8FF32C7}"/>
              </a:ext>
            </a:extLst>
          </p:cNvPr>
          <p:cNvSpPr txBox="1">
            <a:spLocks/>
          </p:cNvSpPr>
          <p:nvPr/>
        </p:nvSpPr>
        <p:spPr>
          <a:xfrm>
            <a:off x="12489617" y="3871560"/>
            <a:ext cx="9248192" cy="22759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1pPr>
            <a:lvl2pPr marL="36" marR="0" indent="0" algn="l" defTabSz="1907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lang="en-GB" sz="3200" b="0" i="0" kern="1200" baseline="0">
                <a:solidFill>
                  <a:schemeClr val="tx1"/>
                </a:solidFill>
                <a:latin typeface="Yango Text Medium" panose="020B0504020202020204" pitchFamily="34" charset="-79"/>
                <a:ea typeface="Yango Text Medium" panose="020B0504020202020204" pitchFamily="34" charset="-79"/>
                <a:cs typeface="Yango Text Medium" panose="020B0504020202020204" pitchFamily="34" charset="-79"/>
              </a:defRPr>
            </a:lvl2pPr>
            <a:lvl3pPr marL="360000" marR="0" indent="-360000" algn="l" defTabSz="18286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tabLst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3pPr>
            <a:lvl4pPr marL="720000" indent="-36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System Font Regular"/>
              <a:buChar char="−"/>
              <a:tabLst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Tx/>
              <a:buNone/>
              <a:defRPr sz="2400" b="0" i="0" kern="1200" baseline="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" marR="0" lvl="1" indent="0" algn="l" defTabSz="1907905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Clr>
                <a:srgbClr val="FFFFFF"/>
              </a:buClr>
              <a:buSzPct val="120000"/>
              <a:buFont typeface="Arial Unicode MS" panose="020B0604020202020204" pitchFamily="34" charset="-128"/>
              <a:buNone/>
              <a:tabLst/>
              <a:defRPr/>
            </a:pPr>
            <a:r>
              <a:rPr kumimoji="0" lang="ru-RU" sz="183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00000">
                      <a:srgbClr val="7E8597"/>
                    </a:gs>
                    <a:gs pos="0">
                      <a:srgbClr val="FFFFFF"/>
                    </a:gs>
                  </a:gsLst>
                  <a:lin ang="10800000" scaled="1"/>
                </a:gradFill>
                <a:effectLst/>
                <a:uLnTx/>
                <a:uFillTx/>
                <a:latin typeface="YS Geo Medium"/>
                <a:ea typeface="Yango Text" panose="020B0504020202020204" pitchFamily="34" charset="-79"/>
                <a:cs typeface="YS Text Bold" pitchFamily="2" charset="77"/>
              </a:rPr>
              <a:t>х2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6FF53D4-D93E-EF86-8E20-024D48AC59A2}"/>
              </a:ext>
            </a:extLst>
          </p:cNvPr>
          <p:cNvSpPr txBox="1"/>
          <p:nvPr/>
        </p:nvSpPr>
        <p:spPr>
          <a:xfrm>
            <a:off x="12489618" y="6165855"/>
            <a:ext cx="9983889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2438248">
              <a:buClr>
                <a:srgbClr val="000000"/>
              </a:buClr>
            </a:pPr>
            <a:r>
              <a:rPr lang="ru-RU" sz="3200" kern="0" dirty="0">
                <a:solidFill>
                  <a:schemeClr val="accent3"/>
                </a:solidFill>
                <a:cs typeface="Arial"/>
                <a:sym typeface="Arial"/>
              </a:rPr>
              <a:t>— во столько раз выросла доля экспресс-доставки от всех заказов с 2025 по 2026 год</a:t>
            </a: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3A1E6A72-E71C-0B06-4A16-86B02C67508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92175" y="584708"/>
            <a:ext cx="3089275" cy="45051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CA91E23-FC7E-A56A-08FF-9B602E93B90C}"/>
              </a:ext>
            </a:extLst>
          </p:cNvPr>
          <p:cNvSpPr txBox="1"/>
          <p:nvPr/>
        </p:nvSpPr>
        <p:spPr>
          <a:xfrm>
            <a:off x="892175" y="13131292"/>
            <a:ext cx="8127471" cy="2769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1800" dirty="0">
                <a:solidFill>
                  <a:schemeClr val="bg1">
                    <a:alpha val="56000"/>
                  </a:schemeClr>
                </a:solidFill>
                <a:latin typeface="+mn-lt"/>
              </a:rPr>
              <a:t>*по данным Яндекс Go и Яндекс Маркета </a:t>
            </a:r>
            <a:endParaRPr lang="en-GB" sz="1800" dirty="0">
              <a:solidFill>
                <a:schemeClr val="bg1">
                  <a:alpha val="56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957135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3EDAB40-79FE-C102-98DA-5114ED39E1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310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EDAB40-79FE-C102-98DA-5114ED39E1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4390266-B422-1E02-7F75-8DA22E8740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2606" y="1681842"/>
            <a:ext cx="22597200" cy="895502"/>
          </a:xfrm>
        </p:spPr>
        <p:txBody>
          <a:bodyPr vert="horz"/>
          <a:lstStyle/>
          <a:p>
            <a:r>
              <a:rPr lang="ru-RU" sz="7200" dirty="0"/>
              <a:t>фокус = </a:t>
            </a:r>
            <a:r>
              <a:rPr lang="ru-RU" sz="7200" dirty="0">
                <a:solidFill>
                  <a:schemeClr val="accent1"/>
                </a:solidFill>
              </a:rPr>
              <a:t>я</a:t>
            </a:r>
            <a:endParaRPr lang="en-GB" sz="7200" dirty="0">
              <a:solidFill>
                <a:schemeClr val="accent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A3D605A-75B4-C68B-FB44-31ACBF09FBD6}"/>
              </a:ext>
            </a:extLst>
          </p:cNvPr>
          <p:cNvSpPr txBox="1"/>
          <p:nvPr/>
        </p:nvSpPr>
        <p:spPr>
          <a:xfrm>
            <a:off x="-5033301" y="1595286"/>
            <a:ext cx="4696552" cy="22929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pPr lvl="2">
              <a:buClr>
                <a:schemeClr val="tx1"/>
              </a:buClr>
            </a:pPr>
            <a:r>
              <a:rPr lang="ru-RU" sz="2800" dirty="0"/>
              <a:t>Отдает предпочтение сервисам, которые создают ощущение личного пространства</a:t>
            </a:r>
          </a:p>
          <a:p>
            <a:pPr lvl="2">
              <a:buClr>
                <a:schemeClr val="tx1"/>
              </a:buClr>
            </a:pPr>
            <a:endParaRPr lang="ru-RU" sz="28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A410EEA-4F5E-7CE9-0047-73B64EB2030E}"/>
              </a:ext>
            </a:extLst>
          </p:cNvPr>
          <p:cNvSpPr txBox="1"/>
          <p:nvPr/>
        </p:nvSpPr>
        <p:spPr>
          <a:xfrm>
            <a:off x="-5033301" y="3703266"/>
            <a:ext cx="3660866" cy="315471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pPr lvl="2">
              <a:buClr>
                <a:schemeClr val="tx1"/>
              </a:buClr>
            </a:pPr>
            <a:r>
              <a:rPr lang="ru-RU" sz="2800" dirty="0"/>
              <a:t>Может пользоваться несколько сервисами в течении дня для своего удобства </a:t>
            </a:r>
          </a:p>
          <a:p>
            <a:pPr lvl="2">
              <a:buClr>
                <a:schemeClr val="tx1"/>
              </a:buClr>
            </a:pPr>
            <a:endParaRPr lang="ru-RU" sz="28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D170B4D-E61F-C1EE-161C-E653B98EA128}"/>
              </a:ext>
            </a:extLst>
          </p:cNvPr>
          <p:cNvSpPr txBox="1"/>
          <p:nvPr/>
        </p:nvSpPr>
        <p:spPr>
          <a:xfrm>
            <a:off x="-5033301" y="7129262"/>
            <a:ext cx="3660866" cy="401648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pPr lvl="2">
              <a:buClr>
                <a:schemeClr val="tx1"/>
              </a:buClr>
            </a:pPr>
            <a:r>
              <a:rPr lang="ru-RU" sz="2800" dirty="0"/>
              <a:t>Вместо блюд на компанию выбирают персональные: мини-пиццы, индивидуальные боксы, кастомные наборы</a:t>
            </a:r>
          </a:p>
          <a:p>
            <a:pPr lvl="2">
              <a:buClr>
                <a:schemeClr val="tx1"/>
              </a:buClr>
            </a:pPr>
            <a:endParaRPr lang="ru-RU" sz="2800" dirty="0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F21F4D97-D48F-288B-710E-10DE53E4DC9B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8226" t="62027" r="646" b="8371"/>
          <a:stretch/>
        </p:blipFill>
        <p:spPr>
          <a:xfrm>
            <a:off x="864043" y="3244237"/>
            <a:ext cx="12041931" cy="3320700"/>
          </a:xfrm>
          <a:prstGeom prst="roundRect">
            <a:avLst>
              <a:gd name="adj" fmla="val 9674"/>
            </a:avLst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5E4BE983-4BAE-0E9D-0376-FA5128D7C97C}"/>
              </a:ext>
            </a:extLst>
          </p:cNvPr>
          <p:cNvSpPr txBox="1">
            <a:spLocks/>
          </p:cNvSpPr>
          <p:nvPr/>
        </p:nvSpPr>
        <p:spPr>
          <a:xfrm>
            <a:off x="7797824" y="5055769"/>
            <a:ext cx="4307089" cy="8617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2800" dirty="0">
                <a:solidFill>
                  <a:schemeClr val="bg1">
                    <a:alpha val="55000"/>
                  </a:schemeClr>
                </a:solidFill>
                <a:latin typeface="+mn-lt"/>
              </a:rPr>
              <a:t>один из главных факторов выбора каршеринга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FD3EBAC-51A2-A5A7-65AD-333D7162138B}"/>
              </a:ext>
            </a:extLst>
          </p:cNvPr>
          <p:cNvSpPr txBox="1">
            <a:spLocks/>
          </p:cNvSpPr>
          <p:nvPr/>
        </p:nvSpPr>
        <p:spPr>
          <a:xfrm>
            <a:off x="7797825" y="3977785"/>
            <a:ext cx="4307089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dirty="0">
                <a:solidFill>
                  <a:schemeClr val="bg1"/>
                </a:solidFill>
                <a:latin typeface="+mj-lt"/>
              </a:rPr>
              <a:t>ощущение своего личного пространства</a:t>
            </a:r>
            <a:endParaRPr lang="en-GB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5" name="Picture 22">
            <a:extLst>
              <a:ext uri="{FF2B5EF4-FFF2-40B4-BE49-F238E27FC236}">
                <a16:creationId xmlns:a16="http://schemas.microsoft.com/office/drawing/2014/main" id="{7707048D-86B0-8C76-F35C-470C481F549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191206" y="2812202"/>
            <a:ext cx="1071534" cy="1071534"/>
          </a:xfrm>
          <a:prstGeom prst="ellipse">
            <a:avLst/>
          </a:prstGeom>
          <a:ln w="149225">
            <a:solidFill>
              <a:schemeClr val="accent5"/>
            </a:solidFill>
          </a:ln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91BD839E-FD02-0C31-067A-8D27C4F4083A}"/>
              </a:ext>
            </a:extLst>
          </p:cNvPr>
          <p:cNvSpPr txBox="1"/>
          <p:nvPr/>
        </p:nvSpPr>
        <p:spPr>
          <a:xfrm>
            <a:off x="926076" y="7133848"/>
            <a:ext cx="5126381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dirty="0">
                <a:solidFill>
                  <a:schemeClr val="bg1"/>
                </a:solidFill>
                <a:latin typeface="+mj-lt"/>
              </a:rPr>
              <a:t>растёт сценарий одиночного потребления </a:t>
            </a:r>
            <a:endParaRPr lang="en-GB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6" name="Text Placeholder 29">
            <a:extLst>
              <a:ext uri="{FF2B5EF4-FFF2-40B4-BE49-F238E27FC236}">
                <a16:creationId xmlns:a16="http://schemas.microsoft.com/office/drawing/2014/main" id="{EE43B3CE-02F2-8A66-EFB1-913893BEE9C0}"/>
              </a:ext>
            </a:extLst>
          </p:cNvPr>
          <p:cNvSpPr txBox="1">
            <a:spLocks/>
          </p:cNvSpPr>
          <p:nvPr/>
        </p:nvSpPr>
        <p:spPr>
          <a:xfrm>
            <a:off x="864044" y="11149121"/>
            <a:ext cx="2418932" cy="119398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1pPr>
            <a:lvl2pPr marL="36" marR="0" indent="0" algn="l" defTabSz="1907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lang="en-GB" sz="3200" b="0" i="0" kern="1200" baseline="0">
                <a:solidFill>
                  <a:schemeClr val="tx1"/>
                </a:solidFill>
                <a:latin typeface="Yango Text Medium" panose="020B0504020202020204" pitchFamily="34" charset="-79"/>
                <a:ea typeface="Yango Text Medium" panose="020B0504020202020204" pitchFamily="34" charset="-79"/>
                <a:cs typeface="Yango Text Medium" panose="020B0504020202020204" pitchFamily="34" charset="-79"/>
              </a:defRPr>
            </a:lvl2pPr>
            <a:lvl3pPr marL="360000" marR="0" indent="-360000" algn="l" defTabSz="18286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tabLst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3pPr>
            <a:lvl4pPr marL="720000" indent="-36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System Font Regular"/>
              <a:buChar char="−"/>
              <a:tabLst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Tx/>
              <a:buNone/>
              <a:defRPr sz="2400" b="0" i="0" kern="1200" baseline="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" marR="0" lvl="1" indent="0" algn="l" defTabSz="1907905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Clr>
                <a:srgbClr val="FFFFFF"/>
              </a:buClr>
              <a:buSzPct val="120000"/>
              <a:buFont typeface="Arial Unicode MS" panose="020B0604020202020204" pitchFamily="34" charset="-128"/>
              <a:buNone/>
              <a:tabLst/>
              <a:defRPr/>
            </a:pPr>
            <a:r>
              <a:rPr lang="ru-RU" sz="9600" dirty="0">
                <a:gradFill>
                  <a:gsLst>
                    <a:gs pos="100000">
                      <a:srgbClr val="7E8597">
                        <a:alpha val="64000"/>
                      </a:srgbClr>
                    </a:gs>
                    <a:gs pos="0">
                      <a:srgbClr val="FFFFFF">
                        <a:alpha val="72000"/>
                      </a:srgbClr>
                    </a:gs>
                  </a:gsLst>
                  <a:lin ang="10800000" scaled="1"/>
                </a:gradFill>
                <a:latin typeface="YS Geo Medium"/>
                <a:cs typeface="YS Text Bold" pitchFamily="2" charset="77"/>
              </a:rPr>
              <a:t>36%</a:t>
            </a:r>
            <a:endParaRPr kumimoji="0" lang="ru-RU" sz="9600" b="0" i="0" u="none" strike="noStrike" kern="1200" cap="none" spc="0" normalizeH="0" baseline="0" noProof="0" dirty="0">
              <a:ln>
                <a:noFill/>
              </a:ln>
              <a:gradFill>
                <a:gsLst>
                  <a:gs pos="100000">
                    <a:srgbClr val="7E8597">
                      <a:alpha val="64000"/>
                    </a:srgbClr>
                  </a:gs>
                  <a:gs pos="0">
                    <a:srgbClr val="FFFFFF">
                      <a:alpha val="72000"/>
                    </a:srgbClr>
                  </a:gs>
                </a:gsLst>
                <a:lin ang="10800000" scaled="1"/>
              </a:gradFill>
              <a:effectLst/>
              <a:uLnTx/>
              <a:uFillTx/>
              <a:latin typeface="YS Geo Medium"/>
              <a:ea typeface="Yango Text" panose="020B0504020202020204" pitchFamily="34" charset="-79"/>
              <a:cs typeface="YS Text Bold" pitchFamily="2" charset="77"/>
            </a:endParaRPr>
          </a:p>
        </p:txBody>
      </p:sp>
      <p:sp>
        <p:nvSpPr>
          <p:cNvPr id="37" name="Text Placeholder 29">
            <a:extLst>
              <a:ext uri="{FF2B5EF4-FFF2-40B4-BE49-F238E27FC236}">
                <a16:creationId xmlns:a16="http://schemas.microsoft.com/office/drawing/2014/main" id="{4D16DA42-6A68-1C64-B4BC-5CEA4579B6A6}"/>
              </a:ext>
            </a:extLst>
          </p:cNvPr>
          <p:cNvSpPr txBox="1">
            <a:spLocks/>
          </p:cNvSpPr>
          <p:nvPr/>
        </p:nvSpPr>
        <p:spPr>
          <a:xfrm>
            <a:off x="3837609" y="10310640"/>
            <a:ext cx="2556790" cy="119398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1pPr>
            <a:lvl2pPr marL="36" marR="0" indent="0" algn="l" defTabSz="1907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lang="en-GB" sz="3200" b="0" i="0" kern="1200" baseline="0">
                <a:solidFill>
                  <a:schemeClr val="tx1"/>
                </a:solidFill>
                <a:latin typeface="Yango Text Medium" panose="020B0504020202020204" pitchFamily="34" charset="-79"/>
                <a:ea typeface="Yango Text Medium" panose="020B0504020202020204" pitchFamily="34" charset="-79"/>
                <a:cs typeface="Yango Text Medium" panose="020B0504020202020204" pitchFamily="34" charset="-79"/>
              </a:defRPr>
            </a:lvl2pPr>
            <a:lvl3pPr marL="360000" marR="0" indent="-360000" algn="l" defTabSz="18286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tabLst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3pPr>
            <a:lvl4pPr marL="720000" indent="-36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System Font Regular"/>
              <a:buChar char="−"/>
              <a:tabLst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Tx/>
              <a:buNone/>
              <a:defRPr sz="2400" b="0" i="0" kern="1200" baseline="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" marR="0" lvl="1" indent="0" algn="l" defTabSz="1907905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Clr>
                <a:srgbClr val="FFFFFF"/>
              </a:buClr>
              <a:buSzPct val="120000"/>
              <a:buFont typeface="Arial Unicode MS" panose="020B0604020202020204" pitchFamily="34" charset="-128"/>
              <a:buNone/>
              <a:tabLst/>
              <a:defRPr/>
            </a:pPr>
            <a:r>
              <a:rPr lang="ru-RU" sz="9600" dirty="0">
                <a:solidFill>
                  <a:schemeClr val="accent1"/>
                </a:solidFill>
                <a:latin typeface="YS Geo Medium"/>
                <a:cs typeface="YS Text Bold" pitchFamily="2" charset="77"/>
              </a:rPr>
              <a:t>40%</a:t>
            </a:r>
            <a:endParaRPr kumimoji="0" lang="ru-RU" sz="96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YS Geo Medium"/>
              <a:ea typeface="Yango Text" panose="020B0504020202020204" pitchFamily="34" charset="-79"/>
              <a:cs typeface="YS Text Bold" pitchFamily="2" charset="77"/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B926BC11-BD47-F797-E57D-2C44B71973C9}"/>
              </a:ext>
            </a:extLst>
          </p:cNvPr>
          <p:cNvGrpSpPr/>
          <p:nvPr/>
        </p:nvGrpSpPr>
        <p:grpSpPr>
          <a:xfrm>
            <a:off x="788958" y="8920828"/>
            <a:ext cx="3783041" cy="1060290"/>
            <a:chOff x="4381114" y="10887312"/>
            <a:chExt cx="3427572" cy="1060290"/>
          </a:xfrm>
        </p:grpSpPr>
        <p:sp>
          <p:nvSpPr>
            <p:cNvPr id="40" name="Graphic 51">
              <a:extLst>
                <a:ext uri="{FF2B5EF4-FFF2-40B4-BE49-F238E27FC236}">
                  <a16:creationId xmlns:a16="http://schemas.microsoft.com/office/drawing/2014/main" id="{EF933867-0230-5493-3E92-274F001A3739}"/>
                </a:ext>
              </a:extLst>
            </p:cNvPr>
            <p:cNvSpPr/>
            <p:nvPr/>
          </p:nvSpPr>
          <p:spPr>
            <a:xfrm>
              <a:off x="7198319" y="11485937"/>
              <a:ext cx="436440" cy="461665"/>
            </a:xfrm>
            <a:custGeom>
              <a:avLst/>
              <a:gdLst>
                <a:gd name="connsiteX0" fmla="*/ 22 w 370210"/>
                <a:gd name="connsiteY0" fmla="*/ 189187 h 472965"/>
                <a:gd name="connsiteX1" fmla="*/ 231490 w 370210"/>
                <a:gd name="connsiteY1" fmla="*/ 472966 h 472965"/>
                <a:gd name="connsiteX2" fmla="*/ 232275 w 370210"/>
                <a:gd name="connsiteY2" fmla="*/ 173696 h 472965"/>
                <a:gd name="connsiteX3" fmla="*/ 370210 w 370210"/>
                <a:gd name="connsiteY3" fmla="*/ 0 h 472965"/>
                <a:gd name="connsiteX4" fmla="*/ 22 w 370210"/>
                <a:gd name="connsiteY4" fmla="*/ 189187 h 472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210" h="472965">
                  <a:moveTo>
                    <a:pt x="22" y="189187"/>
                  </a:moveTo>
                  <a:cubicBezTo>
                    <a:pt x="-2102" y="294130"/>
                    <a:pt x="153449" y="422098"/>
                    <a:pt x="231490" y="472966"/>
                  </a:cubicBezTo>
                  <a:cubicBezTo>
                    <a:pt x="132942" y="341392"/>
                    <a:pt x="190952" y="218630"/>
                    <a:pt x="232275" y="173696"/>
                  </a:cubicBezTo>
                  <a:lnTo>
                    <a:pt x="370210" y="0"/>
                  </a:lnTo>
                  <a:cubicBezTo>
                    <a:pt x="247699" y="19337"/>
                    <a:pt x="2145" y="84245"/>
                    <a:pt x="22" y="189187"/>
                  </a:cubicBezTo>
                  <a:close/>
                </a:path>
              </a:pathLst>
            </a:custGeom>
            <a:solidFill>
              <a:srgbClr val="42444E"/>
            </a:solidFill>
            <a:ln w="9525" cap="flat">
              <a:noFill/>
              <a:prstDash val="solid"/>
              <a:miter/>
            </a:ln>
          </p:spPr>
          <p:txBody>
            <a:bodyPr rtlCol="0" anchor="ctr">
              <a:spAutoFit/>
            </a:bodyPr>
            <a:lstStyle/>
            <a:p>
              <a:endParaRPr lang="ru-RU" sz="2400">
                <a:solidFill>
                  <a:schemeClr val="bg1">
                    <a:alpha val="78000"/>
                  </a:schemeClr>
                </a:solidFill>
              </a:endParaRPr>
            </a:p>
          </p:txBody>
        </p: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CA83578F-4D82-1245-FDE3-9F76B37B1527}"/>
                </a:ext>
              </a:extLst>
            </p:cNvPr>
            <p:cNvSpPr/>
            <p:nvPr/>
          </p:nvSpPr>
          <p:spPr>
            <a:xfrm>
              <a:off x="4381114" y="10887312"/>
              <a:ext cx="3427572" cy="723819"/>
            </a:xfrm>
            <a:prstGeom prst="roundRect">
              <a:avLst>
                <a:gd name="adj" fmla="val 50000"/>
              </a:avLst>
            </a:prstGeom>
            <a:solidFill>
              <a:srgbClr val="42444E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72000" rIns="180000" bIns="72000" rtlCol="0" anchor="ctr" anchorCtr="0">
              <a:spAutoFit/>
            </a:bodyPr>
            <a:lstStyle/>
            <a:p>
              <a:pPr algn="ctr"/>
              <a:r>
                <a:rPr lang="ru-RU" sz="2400" dirty="0">
                  <a:ln w="0"/>
                  <a:solidFill>
                    <a:schemeClr val="bg1">
                      <a:alpha val="78000"/>
                    </a:schemeClr>
                  </a:solidFill>
                </a:rPr>
                <a:t>заказываю на одного</a:t>
              </a:r>
            </a:p>
          </p:txBody>
        </p:sp>
      </p:grpSp>
      <p:sp>
        <p:nvSpPr>
          <p:cNvPr id="43" name="Rectangle 42">
            <a:extLst>
              <a:ext uri="{FF2B5EF4-FFF2-40B4-BE49-F238E27FC236}">
                <a16:creationId xmlns:a16="http://schemas.microsoft.com/office/drawing/2014/main" id="{AB33ADBD-613B-BC12-FB48-964003B32A0C}"/>
              </a:ext>
            </a:extLst>
          </p:cNvPr>
          <p:cNvSpPr/>
          <p:nvPr/>
        </p:nvSpPr>
        <p:spPr>
          <a:xfrm>
            <a:off x="3906788" y="11449012"/>
            <a:ext cx="2726241" cy="2266987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3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l"/>
            <a:endParaRPr lang="en-GB" sz="3200" dirty="0" err="1">
              <a:solidFill>
                <a:schemeClr val="tx1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A74F27F-C63B-8724-C9C6-D0397C3DF619}"/>
              </a:ext>
            </a:extLst>
          </p:cNvPr>
          <p:cNvSpPr txBox="1"/>
          <p:nvPr/>
        </p:nvSpPr>
        <p:spPr>
          <a:xfrm>
            <a:off x="864044" y="12343102"/>
            <a:ext cx="1110882" cy="43088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2800" dirty="0">
                <a:solidFill>
                  <a:schemeClr val="bg1">
                    <a:alpha val="26000"/>
                  </a:schemeClr>
                </a:solidFill>
              </a:rPr>
              <a:t>2023 г.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3DEF444-3387-0812-EEEC-33CF7B120925}"/>
              </a:ext>
            </a:extLst>
          </p:cNvPr>
          <p:cNvSpPr txBox="1"/>
          <p:nvPr/>
        </p:nvSpPr>
        <p:spPr>
          <a:xfrm>
            <a:off x="4151865" y="11631424"/>
            <a:ext cx="1110882" cy="43088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2800" dirty="0">
                <a:solidFill>
                  <a:schemeClr val="tx2">
                    <a:alpha val="48000"/>
                  </a:schemeClr>
                </a:solidFill>
              </a:rPr>
              <a:t>2025 г.</a:t>
            </a:r>
          </a:p>
        </p:txBody>
      </p:sp>
      <p:cxnSp>
        <p:nvCxnSpPr>
          <p:cNvPr id="46" name="Прямая соединительная линия 36">
            <a:extLst>
              <a:ext uri="{FF2B5EF4-FFF2-40B4-BE49-F238E27FC236}">
                <a16:creationId xmlns:a16="http://schemas.microsoft.com/office/drawing/2014/main" id="{CC61CEEE-3275-DBAC-43AB-37E6EEE9BD34}"/>
              </a:ext>
            </a:extLst>
          </p:cNvPr>
          <p:cNvCxnSpPr>
            <a:cxnSpLocks/>
          </p:cNvCxnSpPr>
          <p:nvPr/>
        </p:nvCxnSpPr>
        <p:spPr>
          <a:xfrm>
            <a:off x="7388871" y="7257143"/>
            <a:ext cx="0" cy="5834743"/>
          </a:xfrm>
          <a:prstGeom prst="line">
            <a:avLst/>
          </a:prstGeom>
          <a:solidFill>
            <a:schemeClr val="accent4">
              <a:alpha val="15177"/>
            </a:schemeClr>
          </a:solidFill>
          <a:ln>
            <a:gradFill flip="none" rotWithShape="1">
              <a:gsLst>
                <a:gs pos="0">
                  <a:schemeClr val="bg2">
                    <a:alpha val="50000"/>
                  </a:schemeClr>
                </a:gs>
                <a:gs pos="100000">
                  <a:schemeClr val="bg1">
                    <a:alpha val="10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9A635F4A-EC5E-5C30-43D6-58389C7C0868}"/>
              </a:ext>
            </a:extLst>
          </p:cNvPr>
          <p:cNvSpPr txBox="1"/>
          <p:nvPr/>
        </p:nvSpPr>
        <p:spPr>
          <a:xfrm>
            <a:off x="8237639" y="7133848"/>
            <a:ext cx="5126381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dirty="0">
                <a:solidFill>
                  <a:schemeClr val="bg1"/>
                </a:solidFill>
                <a:latin typeface="+mj-lt"/>
              </a:rPr>
              <a:t>кратный рост ежедневной аудитории самокатов </a:t>
            </a:r>
            <a:endParaRPr lang="en-GB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1" name="Овал 16">
            <a:extLst>
              <a:ext uri="{FF2B5EF4-FFF2-40B4-BE49-F238E27FC236}">
                <a16:creationId xmlns:a16="http://schemas.microsoft.com/office/drawing/2014/main" id="{3C01A6A4-6B5D-1B0A-1D7A-2F901C9F3494}"/>
              </a:ext>
            </a:extLst>
          </p:cNvPr>
          <p:cNvSpPr/>
          <p:nvPr/>
        </p:nvSpPr>
        <p:spPr>
          <a:xfrm>
            <a:off x="4151865" y="8362925"/>
            <a:ext cx="961705" cy="96170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endParaRPr lang="ru-RU" sz="3200" dirty="0" err="1">
              <a:solidFill>
                <a:schemeClr val="tx1"/>
              </a:solidFill>
            </a:endParaRPr>
          </a:p>
        </p:txBody>
      </p:sp>
      <p:grpSp>
        <p:nvGrpSpPr>
          <p:cNvPr id="52" name="Group 152">
            <a:extLst>
              <a:ext uri="{FF2B5EF4-FFF2-40B4-BE49-F238E27FC236}">
                <a16:creationId xmlns:a16="http://schemas.microsoft.com/office/drawing/2014/main" id="{7B288347-DB33-22D4-8EA9-620A8C11AE2D}"/>
              </a:ext>
            </a:extLst>
          </p:cNvPr>
          <p:cNvGrpSpPr>
            <a:grpSpLocks noChangeAspect="1"/>
          </p:cNvGrpSpPr>
          <p:nvPr/>
        </p:nvGrpSpPr>
        <p:grpSpPr>
          <a:xfrm>
            <a:off x="4207083" y="8431211"/>
            <a:ext cx="849925" cy="849925"/>
            <a:chOff x="5578124" y="2110190"/>
            <a:chExt cx="1141300" cy="1141300"/>
          </a:xfrm>
        </p:grpSpPr>
        <p:sp>
          <p:nvSpPr>
            <p:cNvPr id="53" name="Freeform: Shape 153">
              <a:extLst>
                <a:ext uri="{FF2B5EF4-FFF2-40B4-BE49-F238E27FC236}">
                  <a16:creationId xmlns:a16="http://schemas.microsoft.com/office/drawing/2014/main" id="{3D8206F0-C055-9BB4-4D9A-E265F85ACCF6}"/>
                </a:ext>
              </a:extLst>
            </p:cNvPr>
            <p:cNvSpPr/>
            <p:nvPr/>
          </p:nvSpPr>
          <p:spPr>
            <a:xfrm>
              <a:off x="5578124" y="2110190"/>
              <a:ext cx="1141300" cy="1141300"/>
            </a:xfrm>
            <a:custGeom>
              <a:avLst/>
              <a:gdLst>
                <a:gd name="connsiteX0" fmla="*/ 222 w 1141300"/>
                <a:gd name="connsiteY0" fmla="*/ 0 h 1141300"/>
                <a:gd name="connsiteX1" fmla="*/ 1141523 w 1141300"/>
                <a:gd name="connsiteY1" fmla="*/ 0 h 1141300"/>
                <a:gd name="connsiteX2" fmla="*/ 1141523 w 1141300"/>
                <a:gd name="connsiteY2" fmla="*/ 1141301 h 1141300"/>
                <a:gd name="connsiteX3" fmla="*/ 222 w 1141300"/>
                <a:gd name="connsiteY3" fmla="*/ 1141301 h 1141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1300" h="1141300">
                  <a:moveTo>
                    <a:pt x="222" y="0"/>
                  </a:moveTo>
                  <a:lnTo>
                    <a:pt x="1141523" y="0"/>
                  </a:lnTo>
                  <a:lnTo>
                    <a:pt x="1141523" y="1141301"/>
                  </a:lnTo>
                  <a:lnTo>
                    <a:pt x="222" y="1141301"/>
                  </a:lnTo>
                  <a:close/>
                </a:path>
              </a:pathLst>
            </a:custGeom>
            <a:noFill/>
            <a:ln w="114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" name="Freeform: Shape 154">
              <a:extLst>
                <a:ext uri="{FF2B5EF4-FFF2-40B4-BE49-F238E27FC236}">
                  <a16:creationId xmlns:a16="http://schemas.microsoft.com/office/drawing/2014/main" id="{FDCB9CC2-293E-DFAD-63BC-31C6AD5F2BC3}"/>
                </a:ext>
              </a:extLst>
            </p:cNvPr>
            <p:cNvSpPr/>
            <p:nvPr/>
          </p:nvSpPr>
          <p:spPr>
            <a:xfrm>
              <a:off x="5686547" y="2218613"/>
              <a:ext cx="913040" cy="913040"/>
            </a:xfrm>
            <a:custGeom>
              <a:avLst/>
              <a:gdLst>
                <a:gd name="connsiteX0" fmla="*/ 913040 w 913040"/>
                <a:gd name="connsiteY0" fmla="*/ 456520 h 913040"/>
                <a:gd name="connsiteX1" fmla="*/ 456520 w 913040"/>
                <a:gd name="connsiteY1" fmla="*/ 913041 h 913040"/>
                <a:gd name="connsiteX2" fmla="*/ 0 w 913040"/>
                <a:gd name="connsiteY2" fmla="*/ 456520 h 913040"/>
                <a:gd name="connsiteX3" fmla="*/ 456520 w 913040"/>
                <a:gd name="connsiteY3" fmla="*/ 0 h 913040"/>
                <a:gd name="connsiteX4" fmla="*/ 913040 w 913040"/>
                <a:gd name="connsiteY4" fmla="*/ 456520 h 913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3040" h="913040">
                  <a:moveTo>
                    <a:pt x="913040" y="456520"/>
                  </a:moveTo>
                  <a:cubicBezTo>
                    <a:pt x="913040" y="708650"/>
                    <a:pt x="708645" y="913041"/>
                    <a:pt x="456520" y="913041"/>
                  </a:cubicBezTo>
                  <a:cubicBezTo>
                    <a:pt x="204395" y="913041"/>
                    <a:pt x="0" y="708650"/>
                    <a:pt x="0" y="456520"/>
                  </a:cubicBezTo>
                  <a:cubicBezTo>
                    <a:pt x="0" y="204391"/>
                    <a:pt x="204395" y="0"/>
                    <a:pt x="456520" y="0"/>
                  </a:cubicBezTo>
                  <a:cubicBezTo>
                    <a:pt x="708645" y="0"/>
                    <a:pt x="913040" y="204391"/>
                    <a:pt x="913040" y="456520"/>
                  </a:cubicBezTo>
                  <a:close/>
                </a:path>
              </a:pathLst>
            </a:custGeom>
            <a:solidFill>
              <a:schemeClr val="bg2"/>
            </a:solidFill>
            <a:ln w="114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" name="Freeform: Shape 155">
              <a:extLst>
                <a:ext uri="{FF2B5EF4-FFF2-40B4-BE49-F238E27FC236}">
                  <a16:creationId xmlns:a16="http://schemas.microsoft.com/office/drawing/2014/main" id="{165AB6CB-C26B-E538-69D6-882F75113E9D}"/>
                </a:ext>
              </a:extLst>
            </p:cNvPr>
            <p:cNvSpPr/>
            <p:nvPr/>
          </p:nvSpPr>
          <p:spPr>
            <a:xfrm>
              <a:off x="5824211" y="2351256"/>
              <a:ext cx="589264" cy="647763"/>
            </a:xfrm>
            <a:custGeom>
              <a:avLst/>
              <a:gdLst>
                <a:gd name="connsiteX0" fmla="*/ 540474 w 589264"/>
                <a:gd name="connsiteY0" fmla="*/ 498428 h 647763"/>
                <a:gd name="connsiteX1" fmla="*/ 346145 w 589264"/>
                <a:gd name="connsiteY1" fmla="*/ 572818 h 647763"/>
                <a:gd name="connsiteX2" fmla="*/ 73865 w 589264"/>
                <a:gd name="connsiteY2" fmla="*/ 312302 h 647763"/>
                <a:gd name="connsiteX3" fmla="*/ 305275 w 589264"/>
                <a:gd name="connsiteY3" fmla="*/ 74946 h 647763"/>
                <a:gd name="connsiteX4" fmla="*/ 513380 w 589264"/>
                <a:gd name="connsiteY4" fmla="*/ 271796 h 647763"/>
                <a:gd name="connsiteX5" fmla="*/ 346145 w 589264"/>
                <a:gd name="connsiteY5" fmla="*/ 445530 h 647763"/>
                <a:gd name="connsiteX6" fmla="*/ 202250 w 589264"/>
                <a:gd name="connsiteY6" fmla="*/ 312302 h 647763"/>
                <a:gd name="connsiteX7" fmla="*/ 305321 w 589264"/>
                <a:gd name="connsiteY7" fmla="*/ 202234 h 647763"/>
                <a:gd name="connsiteX8" fmla="*/ 385041 w 589264"/>
                <a:gd name="connsiteY8" fmla="*/ 271796 h 647763"/>
                <a:gd name="connsiteX9" fmla="*/ 346145 w 589264"/>
                <a:gd name="connsiteY9" fmla="*/ 318199 h 647763"/>
                <a:gd name="connsiteX10" fmla="*/ 334344 w 589264"/>
                <a:gd name="connsiteY10" fmla="*/ 315122 h 647763"/>
                <a:gd name="connsiteX11" fmla="*/ 341854 w 589264"/>
                <a:gd name="connsiteY11" fmla="*/ 286537 h 647763"/>
                <a:gd name="connsiteX12" fmla="*/ 299877 w 589264"/>
                <a:gd name="connsiteY12" fmla="*/ 254961 h 647763"/>
                <a:gd name="connsiteX13" fmla="*/ 266129 w 589264"/>
                <a:gd name="connsiteY13" fmla="*/ 278248 h 647763"/>
                <a:gd name="connsiteX14" fmla="*/ 256690 w 589264"/>
                <a:gd name="connsiteY14" fmla="*/ 312302 h 647763"/>
                <a:gd name="connsiteX15" fmla="*/ 346145 w 589264"/>
                <a:gd name="connsiteY15" fmla="*/ 393145 h 647763"/>
                <a:gd name="connsiteX16" fmla="*/ 458940 w 589264"/>
                <a:gd name="connsiteY16" fmla="*/ 271796 h 647763"/>
                <a:gd name="connsiteX17" fmla="*/ 305321 w 589264"/>
                <a:gd name="connsiteY17" fmla="*/ 127288 h 647763"/>
                <a:gd name="connsiteX18" fmla="*/ 128351 w 589264"/>
                <a:gd name="connsiteY18" fmla="*/ 312302 h 647763"/>
                <a:gd name="connsiteX19" fmla="*/ 346191 w 589264"/>
                <a:gd name="connsiteY19" fmla="*/ 520433 h 647763"/>
                <a:gd name="connsiteX20" fmla="*/ 587325 w 589264"/>
                <a:gd name="connsiteY20" fmla="*/ 271753 h 647763"/>
                <a:gd name="connsiteX21" fmla="*/ 305321 w 589264"/>
                <a:gd name="connsiteY21" fmla="*/ 0 h 647763"/>
                <a:gd name="connsiteX22" fmla="*/ 0 w 589264"/>
                <a:gd name="connsiteY22" fmla="*/ 312302 h 647763"/>
                <a:gd name="connsiteX23" fmla="*/ 346191 w 589264"/>
                <a:gd name="connsiteY23" fmla="*/ 647763 h 647763"/>
                <a:gd name="connsiteX24" fmla="*/ 589265 w 589264"/>
                <a:gd name="connsiteY24" fmla="*/ 554744 h 647763"/>
                <a:gd name="connsiteX25" fmla="*/ 540474 w 589264"/>
                <a:gd name="connsiteY25" fmla="*/ 498428 h 647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89264" h="647763">
                  <a:moveTo>
                    <a:pt x="540474" y="498428"/>
                  </a:moveTo>
                  <a:cubicBezTo>
                    <a:pt x="488351" y="544831"/>
                    <a:pt x="420341" y="572818"/>
                    <a:pt x="346145" y="572818"/>
                  </a:cubicBezTo>
                  <a:cubicBezTo>
                    <a:pt x="190494" y="572818"/>
                    <a:pt x="73865" y="451255"/>
                    <a:pt x="73865" y="312302"/>
                  </a:cubicBezTo>
                  <a:cubicBezTo>
                    <a:pt x="73865" y="181638"/>
                    <a:pt x="177187" y="74946"/>
                    <a:pt x="305275" y="74946"/>
                  </a:cubicBezTo>
                  <a:cubicBezTo>
                    <a:pt x="426162" y="74946"/>
                    <a:pt x="513380" y="169460"/>
                    <a:pt x="513380" y="271796"/>
                  </a:cubicBezTo>
                  <a:cubicBezTo>
                    <a:pt x="513380" y="367721"/>
                    <a:pt x="438339" y="445530"/>
                    <a:pt x="346145" y="445530"/>
                  </a:cubicBezTo>
                  <a:cubicBezTo>
                    <a:pt x="261792" y="445530"/>
                    <a:pt x="202250" y="381095"/>
                    <a:pt x="202250" y="312302"/>
                  </a:cubicBezTo>
                  <a:cubicBezTo>
                    <a:pt x="202250" y="250560"/>
                    <a:pt x="249614" y="202234"/>
                    <a:pt x="305321" y="202234"/>
                  </a:cubicBezTo>
                  <a:cubicBezTo>
                    <a:pt x="354613" y="202234"/>
                    <a:pt x="385041" y="238468"/>
                    <a:pt x="385041" y="271796"/>
                  </a:cubicBezTo>
                  <a:cubicBezTo>
                    <a:pt x="385041" y="300722"/>
                    <a:pt x="364851" y="318199"/>
                    <a:pt x="346145" y="318199"/>
                  </a:cubicBezTo>
                  <a:cubicBezTo>
                    <a:pt x="339526" y="318199"/>
                    <a:pt x="337003" y="316789"/>
                    <a:pt x="334344" y="315122"/>
                  </a:cubicBezTo>
                  <a:cubicBezTo>
                    <a:pt x="340370" y="307303"/>
                    <a:pt x="343360" y="297133"/>
                    <a:pt x="341854" y="286537"/>
                  </a:cubicBezTo>
                  <a:cubicBezTo>
                    <a:pt x="338852" y="266070"/>
                    <a:pt x="320066" y="251927"/>
                    <a:pt x="299877" y="254961"/>
                  </a:cubicBezTo>
                  <a:cubicBezTo>
                    <a:pt x="282563" y="257568"/>
                    <a:pt x="271572" y="269445"/>
                    <a:pt x="266129" y="278248"/>
                  </a:cubicBezTo>
                  <a:cubicBezTo>
                    <a:pt x="259977" y="288118"/>
                    <a:pt x="256690" y="299997"/>
                    <a:pt x="256690" y="312302"/>
                  </a:cubicBezTo>
                  <a:cubicBezTo>
                    <a:pt x="256690" y="361397"/>
                    <a:pt x="302068" y="393145"/>
                    <a:pt x="346145" y="393145"/>
                  </a:cubicBezTo>
                  <a:cubicBezTo>
                    <a:pt x="410526" y="393187"/>
                    <a:pt x="458940" y="336486"/>
                    <a:pt x="458940" y="271796"/>
                  </a:cubicBezTo>
                  <a:cubicBezTo>
                    <a:pt x="458940" y="192620"/>
                    <a:pt x="390896" y="127288"/>
                    <a:pt x="305321" y="127288"/>
                  </a:cubicBezTo>
                  <a:cubicBezTo>
                    <a:pt x="205925" y="127288"/>
                    <a:pt x="128351" y="212146"/>
                    <a:pt x="128351" y="312302"/>
                  </a:cubicBezTo>
                  <a:cubicBezTo>
                    <a:pt x="128351" y="425790"/>
                    <a:pt x="224288" y="520433"/>
                    <a:pt x="346191" y="520433"/>
                  </a:cubicBezTo>
                  <a:cubicBezTo>
                    <a:pt x="480933" y="520433"/>
                    <a:pt x="587325" y="407288"/>
                    <a:pt x="587325" y="271753"/>
                  </a:cubicBezTo>
                  <a:cubicBezTo>
                    <a:pt x="587325" y="126049"/>
                    <a:pt x="465012" y="0"/>
                    <a:pt x="305321" y="0"/>
                  </a:cubicBezTo>
                  <a:cubicBezTo>
                    <a:pt x="135427" y="0"/>
                    <a:pt x="0" y="141260"/>
                    <a:pt x="0" y="312302"/>
                  </a:cubicBezTo>
                  <a:cubicBezTo>
                    <a:pt x="0" y="494924"/>
                    <a:pt x="152033" y="647763"/>
                    <a:pt x="346191" y="647763"/>
                  </a:cubicBezTo>
                  <a:cubicBezTo>
                    <a:pt x="439059" y="647763"/>
                    <a:pt x="524257" y="612598"/>
                    <a:pt x="589265" y="554744"/>
                  </a:cubicBezTo>
                  <a:lnTo>
                    <a:pt x="540474" y="498428"/>
                  </a:lnTo>
                  <a:close/>
                </a:path>
              </a:pathLst>
            </a:custGeom>
            <a:solidFill>
              <a:schemeClr val="tx2"/>
            </a:solidFill>
            <a:ln w="114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56" name="Text Placeholder 29">
            <a:extLst>
              <a:ext uri="{FF2B5EF4-FFF2-40B4-BE49-F238E27FC236}">
                <a16:creationId xmlns:a16="http://schemas.microsoft.com/office/drawing/2014/main" id="{62681D75-4040-D7BB-C277-F8D0680403D2}"/>
              </a:ext>
            </a:extLst>
          </p:cNvPr>
          <p:cNvSpPr txBox="1">
            <a:spLocks/>
          </p:cNvSpPr>
          <p:nvPr/>
        </p:nvSpPr>
        <p:spPr>
          <a:xfrm>
            <a:off x="8251816" y="11149121"/>
            <a:ext cx="2199320" cy="119398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1pPr>
            <a:lvl2pPr marL="36" marR="0" indent="0" algn="l" defTabSz="1907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lang="en-GB" sz="3200" b="0" i="0" kern="1200" baseline="0">
                <a:solidFill>
                  <a:schemeClr val="tx1"/>
                </a:solidFill>
                <a:latin typeface="Yango Text Medium" panose="020B0504020202020204" pitchFamily="34" charset="-79"/>
                <a:ea typeface="Yango Text Medium" panose="020B0504020202020204" pitchFamily="34" charset="-79"/>
                <a:cs typeface="Yango Text Medium" panose="020B0504020202020204" pitchFamily="34" charset="-79"/>
              </a:defRPr>
            </a:lvl2pPr>
            <a:lvl3pPr marL="360000" marR="0" indent="-360000" algn="l" defTabSz="18286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tabLst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3pPr>
            <a:lvl4pPr marL="720000" indent="-36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System Font Regular"/>
              <a:buChar char="−"/>
              <a:tabLst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Tx/>
              <a:buNone/>
              <a:defRPr sz="2400" b="0" i="0" kern="1200" baseline="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" marR="0" lvl="1" indent="0" algn="l" defTabSz="1907905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Clr>
                <a:srgbClr val="FFFFFF"/>
              </a:buClr>
              <a:buSzPct val="120000"/>
              <a:buFont typeface="Arial Unicode MS" panose="020B0604020202020204" pitchFamily="34" charset="-128"/>
              <a:buNone/>
              <a:tabLst/>
              <a:defRPr/>
            </a:pPr>
            <a:r>
              <a:rPr lang="ru-RU" sz="9600" dirty="0">
                <a:gradFill>
                  <a:gsLst>
                    <a:gs pos="100000">
                      <a:srgbClr val="7E8597">
                        <a:alpha val="64000"/>
                      </a:srgbClr>
                    </a:gs>
                    <a:gs pos="0">
                      <a:srgbClr val="FFFFFF">
                        <a:alpha val="72000"/>
                      </a:srgbClr>
                    </a:gs>
                  </a:gsLst>
                  <a:lin ang="10800000" scaled="1"/>
                </a:gradFill>
                <a:latin typeface="YS Geo Medium"/>
                <a:cs typeface="YS Text Bold" pitchFamily="2" charset="77"/>
              </a:rPr>
              <a:t>18%</a:t>
            </a:r>
            <a:endParaRPr kumimoji="0" lang="ru-RU" sz="9600" b="0" i="0" u="none" strike="noStrike" kern="1200" cap="none" spc="0" normalizeH="0" baseline="0" noProof="0" dirty="0">
              <a:ln>
                <a:noFill/>
              </a:ln>
              <a:gradFill>
                <a:gsLst>
                  <a:gs pos="100000">
                    <a:srgbClr val="7E8597">
                      <a:alpha val="64000"/>
                    </a:srgbClr>
                  </a:gs>
                  <a:gs pos="0">
                    <a:srgbClr val="FFFFFF">
                      <a:alpha val="72000"/>
                    </a:srgbClr>
                  </a:gs>
                </a:gsLst>
                <a:lin ang="10800000" scaled="1"/>
              </a:gradFill>
              <a:effectLst/>
              <a:uLnTx/>
              <a:uFillTx/>
              <a:latin typeface="YS Geo Medium"/>
              <a:ea typeface="Yango Text" panose="020B0504020202020204" pitchFamily="34" charset="-79"/>
              <a:cs typeface="YS Text Bold" pitchFamily="2" charset="77"/>
            </a:endParaRPr>
          </a:p>
        </p:txBody>
      </p:sp>
      <p:sp>
        <p:nvSpPr>
          <p:cNvPr id="57" name="Text Placeholder 29">
            <a:extLst>
              <a:ext uri="{FF2B5EF4-FFF2-40B4-BE49-F238E27FC236}">
                <a16:creationId xmlns:a16="http://schemas.microsoft.com/office/drawing/2014/main" id="{A4F395F2-5EA5-C12B-B5E1-59272D2D77CC}"/>
              </a:ext>
            </a:extLst>
          </p:cNvPr>
          <p:cNvSpPr txBox="1">
            <a:spLocks/>
          </p:cNvSpPr>
          <p:nvPr/>
        </p:nvSpPr>
        <p:spPr>
          <a:xfrm>
            <a:off x="11225381" y="8801295"/>
            <a:ext cx="2380460" cy="119398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1pPr>
            <a:lvl2pPr marL="36" marR="0" indent="0" algn="l" defTabSz="1907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lang="en-GB" sz="3200" b="0" i="0" kern="1200" baseline="0">
                <a:solidFill>
                  <a:schemeClr val="tx1"/>
                </a:solidFill>
                <a:latin typeface="Yango Text Medium" panose="020B0504020202020204" pitchFamily="34" charset="-79"/>
                <a:ea typeface="Yango Text Medium" panose="020B0504020202020204" pitchFamily="34" charset="-79"/>
                <a:cs typeface="Yango Text Medium" panose="020B0504020202020204" pitchFamily="34" charset="-79"/>
              </a:defRPr>
            </a:lvl2pPr>
            <a:lvl3pPr marL="360000" marR="0" indent="-360000" algn="l" defTabSz="18286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tabLst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3pPr>
            <a:lvl4pPr marL="720000" indent="-36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System Font Regular"/>
              <a:buChar char="−"/>
              <a:tabLst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Tx/>
              <a:buNone/>
              <a:defRPr sz="2400" b="0" i="0" kern="1200" baseline="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" marR="0" lvl="1" indent="0" algn="l" defTabSz="1907905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Clr>
                <a:srgbClr val="FFFFFF"/>
              </a:buClr>
              <a:buSzPct val="120000"/>
              <a:buFont typeface="Arial Unicode MS" panose="020B0604020202020204" pitchFamily="34" charset="-128"/>
              <a:buNone/>
              <a:tabLst/>
              <a:defRPr/>
            </a:pPr>
            <a:r>
              <a:rPr lang="ru-RU" sz="9600" dirty="0">
                <a:solidFill>
                  <a:schemeClr val="accent1"/>
                </a:solidFill>
                <a:latin typeface="YS Geo Medium"/>
                <a:cs typeface="YS Text Bold" pitchFamily="2" charset="77"/>
              </a:rPr>
              <a:t>28%</a:t>
            </a:r>
            <a:endParaRPr kumimoji="0" lang="ru-RU" sz="96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YS Geo Medium"/>
              <a:ea typeface="Yango Text" panose="020B0504020202020204" pitchFamily="34" charset="-79"/>
              <a:cs typeface="YS Text Bold" pitchFamily="2" charset="77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750D5110-5BE2-7B00-720A-E6DA1FF58699}"/>
              </a:ext>
            </a:extLst>
          </p:cNvPr>
          <p:cNvSpPr/>
          <p:nvPr/>
        </p:nvSpPr>
        <p:spPr>
          <a:xfrm>
            <a:off x="11294560" y="9898743"/>
            <a:ext cx="2726241" cy="3817257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3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l"/>
            <a:endParaRPr lang="en-GB" sz="3200" dirty="0" err="1">
              <a:solidFill>
                <a:schemeClr val="tx1"/>
              </a:solidFill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72E4DC2D-F798-2C2E-C524-1BC9871553F4}"/>
              </a:ext>
            </a:extLst>
          </p:cNvPr>
          <p:cNvSpPr txBox="1"/>
          <p:nvPr/>
        </p:nvSpPr>
        <p:spPr>
          <a:xfrm>
            <a:off x="8251816" y="12343102"/>
            <a:ext cx="1110882" cy="43088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2800" dirty="0">
                <a:solidFill>
                  <a:schemeClr val="bg1">
                    <a:alpha val="26000"/>
                  </a:schemeClr>
                </a:solidFill>
              </a:rPr>
              <a:t>2022 г.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C82651B0-BC7B-1327-7E66-CAC57797DCE8}"/>
              </a:ext>
            </a:extLst>
          </p:cNvPr>
          <p:cNvSpPr txBox="1"/>
          <p:nvPr/>
        </p:nvSpPr>
        <p:spPr>
          <a:xfrm>
            <a:off x="11539637" y="10039549"/>
            <a:ext cx="1110882" cy="43088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2800" dirty="0">
                <a:solidFill>
                  <a:schemeClr val="tx2">
                    <a:alpha val="48000"/>
                  </a:schemeClr>
                </a:solidFill>
              </a:rPr>
              <a:t>2024 г.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0AFFAE8D-4910-7FF4-F8C4-A5AEAAE0A83B}"/>
              </a:ext>
            </a:extLst>
          </p:cNvPr>
          <p:cNvGrpSpPr/>
          <p:nvPr/>
        </p:nvGrpSpPr>
        <p:grpSpPr>
          <a:xfrm>
            <a:off x="7942483" y="8753901"/>
            <a:ext cx="2707838" cy="1060290"/>
            <a:chOff x="5355287" y="10887312"/>
            <a:chExt cx="2453399" cy="1060290"/>
          </a:xfrm>
        </p:grpSpPr>
        <p:sp>
          <p:nvSpPr>
            <p:cNvPr id="62" name="Graphic 51">
              <a:extLst>
                <a:ext uri="{FF2B5EF4-FFF2-40B4-BE49-F238E27FC236}">
                  <a16:creationId xmlns:a16="http://schemas.microsoft.com/office/drawing/2014/main" id="{552C0219-A74F-803C-4E2C-944C20D65938}"/>
                </a:ext>
              </a:extLst>
            </p:cNvPr>
            <p:cNvSpPr/>
            <p:nvPr/>
          </p:nvSpPr>
          <p:spPr>
            <a:xfrm>
              <a:off x="7198319" y="11485937"/>
              <a:ext cx="436440" cy="461665"/>
            </a:xfrm>
            <a:custGeom>
              <a:avLst/>
              <a:gdLst>
                <a:gd name="connsiteX0" fmla="*/ 22 w 370210"/>
                <a:gd name="connsiteY0" fmla="*/ 189187 h 472965"/>
                <a:gd name="connsiteX1" fmla="*/ 231490 w 370210"/>
                <a:gd name="connsiteY1" fmla="*/ 472966 h 472965"/>
                <a:gd name="connsiteX2" fmla="*/ 232275 w 370210"/>
                <a:gd name="connsiteY2" fmla="*/ 173696 h 472965"/>
                <a:gd name="connsiteX3" fmla="*/ 370210 w 370210"/>
                <a:gd name="connsiteY3" fmla="*/ 0 h 472965"/>
                <a:gd name="connsiteX4" fmla="*/ 22 w 370210"/>
                <a:gd name="connsiteY4" fmla="*/ 189187 h 472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210" h="472965">
                  <a:moveTo>
                    <a:pt x="22" y="189187"/>
                  </a:moveTo>
                  <a:cubicBezTo>
                    <a:pt x="-2102" y="294130"/>
                    <a:pt x="153449" y="422098"/>
                    <a:pt x="231490" y="472966"/>
                  </a:cubicBezTo>
                  <a:cubicBezTo>
                    <a:pt x="132942" y="341392"/>
                    <a:pt x="190952" y="218630"/>
                    <a:pt x="232275" y="173696"/>
                  </a:cubicBezTo>
                  <a:lnTo>
                    <a:pt x="370210" y="0"/>
                  </a:lnTo>
                  <a:cubicBezTo>
                    <a:pt x="247699" y="19337"/>
                    <a:pt x="2145" y="84245"/>
                    <a:pt x="22" y="189187"/>
                  </a:cubicBezTo>
                  <a:close/>
                </a:path>
              </a:pathLst>
            </a:custGeom>
            <a:solidFill>
              <a:srgbClr val="42444E"/>
            </a:solidFill>
            <a:ln w="9525" cap="flat">
              <a:noFill/>
              <a:prstDash val="solid"/>
              <a:miter/>
            </a:ln>
          </p:spPr>
          <p:txBody>
            <a:bodyPr rtlCol="0" anchor="ctr">
              <a:spAutoFit/>
            </a:bodyPr>
            <a:lstStyle/>
            <a:p>
              <a:endParaRPr lang="ru-RU" sz="2400">
                <a:solidFill>
                  <a:schemeClr val="bg1">
                    <a:alpha val="78000"/>
                  </a:schemeClr>
                </a:solidFill>
              </a:endParaRPr>
            </a:p>
          </p:txBody>
        </p:sp>
        <p:sp>
          <p:nvSpPr>
            <p:cNvPr id="63" name="Rectangle: Rounded Corners 62">
              <a:extLst>
                <a:ext uri="{FF2B5EF4-FFF2-40B4-BE49-F238E27FC236}">
                  <a16:creationId xmlns:a16="http://schemas.microsoft.com/office/drawing/2014/main" id="{C011AFD5-4AFF-2F17-F2F9-2685A3554C95}"/>
                </a:ext>
              </a:extLst>
            </p:cNvPr>
            <p:cNvSpPr/>
            <p:nvPr/>
          </p:nvSpPr>
          <p:spPr>
            <a:xfrm>
              <a:off x="5355287" y="10887312"/>
              <a:ext cx="2453399" cy="723819"/>
            </a:xfrm>
            <a:prstGeom prst="roundRect">
              <a:avLst>
                <a:gd name="adj" fmla="val 50000"/>
              </a:avLst>
            </a:prstGeom>
            <a:solidFill>
              <a:srgbClr val="42444E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72000" rIns="180000" bIns="72000" rtlCol="0" anchor="ctr" anchorCtr="0">
              <a:spAutoFit/>
            </a:bodyPr>
            <a:lstStyle/>
            <a:p>
              <a:pPr algn="ctr"/>
              <a:r>
                <a:rPr lang="ru-RU" sz="2400" dirty="0">
                  <a:ln w="0"/>
                  <a:solidFill>
                    <a:schemeClr val="bg1">
                      <a:alpha val="78000"/>
                    </a:schemeClr>
                  </a:solidFill>
                </a:rPr>
                <a:t>катаюсь один</a:t>
              </a: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DE1F3C24-B7CB-915F-7896-B926051A338E}"/>
              </a:ext>
            </a:extLst>
          </p:cNvPr>
          <p:cNvGrpSpPr/>
          <p:nvPr/>
        </p:nvGrpSpPr>
        <p:grpSpPr>
          <a:xfrm>
            <a:off x="10346274" y="8431090"/>
            <a:ext cx="720000" cy="720676"/>
            <a:chOff x="10346274" y="7850519"/>
            <a:chExt cx="720000" cy="720676"/>
          </a:xfrm>
        </p:grpSpPr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8A93676B-4DD1-4E5F-FB3E-E458135C68DB}"/>
                </a:ext>
              </a:extLst>
            </p:cNvPr>
            <p:cNvSpPr>
              <a:spLocks/>
            </p:cNvSpPr>
            <p:nvPr/>
          </p:nvSpPr>
          <p:spPr>
            <a:xfrm>
              <a:off x="10346274" y="7850519"/>
              <a:ext cx="720000" cy="720676"/>
            </a:xfrm>
            <a:prstGeom prst="ellipse">
              <a:avLst/>
            </a:prstGeom>
            <a:solidFill>
              <a:schemeClr val="accent2"/>
            </a:solidFill>
            <a:ln w="698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>
              <a:noAutofit/>
            </a:bodyPr>
            <a:lstStyle/>
            <a:p>
              <a:pPr algn="l"/>
              <a:endParaRPr lang="en-GB" sz="3200" dirty="0" err="1">
                <a:solidFill>
                  <a:schemeClr val="tx1"/>
                </a:solidFill>
              </a:endParaRPr>
            </a:p>
          </p:txBody>
        </p:sp>
        <p:pic>
          <p:nvPicPr>
            <p:cNvPr id="72" name="Рисунок 30">
              <a:extLst>
                <a:ext uri="{FF2B5EF4-FFF2-40B4-BE49-F238E27FC236}">
                  <a16:creationId xmlns:a16="http://schemas.microsoft.com/office/drawing/2014/main" id="{724ACC31-50A6-0E21-34C3-AE3E0D8A657C}"/>
                </a:ext>
              </a:extLst>
            </p:cNvPr>
            <p:cNvPicPr>
              <a:picLocks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0370692" y="7874960"/>
              <a:ext cx="671164" cy="671794"/>
            </a:xfrm>
            <a:prstGeom prst="rect">
              <a:avLst/>
            </a:prstGeom>
          </p:spPr>
        </p:pic>
      </p:grpSp>
      <p:pic>
        <p:nvPicPr>
          <p:cNvPr id="77" name="Graphic 76">
            <a:extLst>
              <a:ext uri="{FF2B5EF4-FFF2-40B4-BE49-F238E27FC236}">
                <a16:creationId xmlns:a16="http://schemas.microsoft.com/office/drawing/2014/main" id="{5E26BB3F-8592-8AF5-4743-2B03826F824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92175" y="584708"/>
            <a:ext cx="3089275" cy="450519"/>
          </a:xfrm>
          <a:prstGeom prst="rect">
            <a:avLst/>
          </a:prstGeom>
        </p:spPr>
      </p:pic>
      <p:pic>
        <p:nvPicPr>
          <p:cNvPr id="10" name="Picture 81">
            <a:extLst>
              <a:ext uri="{FF2B5EF4-FFF2-40B4-BE49-F238E27FC236}">
                <a16:creationId xmlns:a16="http://schemas.microsoft.com/office/drawing/2014/main" id="{CF46E913-0FD0-A2B1-AB61-E07D731CAD1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55" t="15418" r="41430" b="28100"/>
          <a:stretch/>
        </p:blipFill>
        <p:spPr>
          <a:xfrm>
            <a:off x="12905978" y="-1"/>
            <a:ext cx="11476435" cy="1371600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4FA1D81-7299-A5B6-C3B4-0F7DACC4487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2895596" y="-10693"/>
            <a:ext cx="12430325" cy="14221543"/>
          </a:xfrm>
          <a:prstGeom prst="rect">
            <a:avLst/>
          </a:prstGeom>
          <a:effectLst>
            <a:outerShdw blurRad="863600" dist="2311400" dir="3240000" algn="l" rotWithShape="0">
              <a:prstClr val="black">
                <a:alpha val="40000"/>
              </a:prstClr>
            </a:outerShdw>
          </a:effec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701D47C-C479-D023-2638-007AAAA6F971}"/>
              </a:ext>
            </a:extLst>
          </p:cNvPr>
          <p:cNvSpPr txBox="1"/>
          <p:nvPr/>
        </p:nvSpPr>
        <p:spPr>
          <a:xfrm>
            <a:off x="892175" y="13131292"/>
            <a:ext cx="8127471" cy="2769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1800" dirty="0">
                <a:solidFill>
                  <a:schemeClr val="bg1">
                    <a:alpha val="56000"/>
                  </a:schemeClr>
                </a:solidFill>
                <a:latin typeface="+mn-lt"/>
              </a:rPr>
              <a:t>*по данным Городских сервисов Яндекса </a:t>
            </a:r>
            <a:endParaRPr lang="en-GB" sz="1800" dirty="0">
              <a:solidFill>
                <a:schemeClr val="bg1">
                  <a:alpha val="56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9465497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3EDAB40-79FE-C102-98DA-5114ED39E1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7822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EDAB40-79FE-C102-98DA-5114ED39E1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Рисунок 10">
            <a:extLst>
              <a:ext uri="{FF2B5EF4-FFF2-40B4-BE49-F238E27FC236}">
                <a16:creationId xmlns:a16="http://schemas.microsoft.com/office/drawing/2014/main" id="{7CB1D51E-52A8-538C-E9A6-FAF0E7CCDEA0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r="2" b="4125"/>
          <a:stretch/>
        </p:blipFill>
        <p:spPr>
          <a:xfrm>
            <a:off x="1045006" y="3643890"/>
            <a:ext cx="4842317" cy="10072110"/>
          </a:xfrm>
          <a:prstGeom prst="round2SameRect">
            <a:avLst>
              <a:gd name="adj1" fmla="val 9519"/>
              <a:gd name="adj2" fmla="val 0"/>
            </a:avLst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DAEDF61C-FA22-551B-3942-C38E1A418C7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7314" y="3475704"/>
            <a:ext cx="9383499" cy="4173780"/>
          </a:xfrm>
          <a:prstGeom prst="roundRect">
            <a:avLst>
              <a:gd name="adj" fmla="val 7252"/>
            </a:avLst>
          </a:prstGeom>
        </p:spPr>
      </p:pic>
      <p:sp>
        <p:nvSpPr>
          <p:cNvPr id="7" name="Title 7">
            <a:extLst>
              <a:ext uri="{FF2B5EF4-FFF2-40B4-BE49-F238E27FC236}">
                <a16:creationId xmlns:a16="http://schemas.microsoft.com/office/drawing/2014/main" id="{F4E10F5F-DFB1-A6B4-68E2-5887AF9F7074}"/>
              </a:ext>
            </a:extLst>
          </p:cNvPr>
          <p:cNvSpPr txBox="1">
            <a:spLocks/>
          </p:cNvSpPr>
          <p:nvPr/>
        </p:nvSpPr>
        <p:spPr>
          <a:xfrm>
            <a:off x="892606" y="1681842"/>
            <a:ext cx="22597200" cy="895502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algn="l" defTabSz="1828619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8000" b="0" i="0" kern="1200">
                <a:solidFill>
                  <a:schemeClr val="bg1"/>
                </a:solidFill>
                <a:latin typeface="+mj-lt"/>
                <a:ea typeface="+mj-ea"/>
                <a:cs typeface="YS Display Cond" pitchFamily="2" charset="0"/>
              </a:defRPr>
            </a:lvl1pPr>
          </a:lstStyle>
          <a:p>
            <a:r>
              <a:rPr lang="ru-RU" sz="7200" dirty="0"/>
              <a:t>решения для тех, кто выбирает себя</a:t>
            </a:r>
            <a:endParaRPr lang="en-GB" sz="72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29835B9-6902-523E-2613-E11D17F4ECAB}"/>
              </a:ext>
            </a:extLst>
          </p:cNvPr>
          <p:cNvSpPr txBox="1">
            <a:spLocks/>
          </p:cNvSpPr>
          <p:nvPr/>
        </p:nvSpPr>
        <p:spPr>
          <a:xfrm>
            <a:off x="6424442" y="3419642"/>
            <a:ext cx="3150633" cy="79194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ru-RU"/>
            </a:defPPr>
            <a:lvl1pPr indent="0" defTabSz="1828619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FontTx/>
              <a:buNone/>
              <a:defRPr sz="3200" b="0" i="0"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b="0" i="0" baseline="0">
                <a:solidFill>
                  <a:schemeClr val="bg1"/>
                </a:solidFill>
                <a:ea typeface="Yango Text Medium" panose="020B0504020202020204" pitchFamily="34" charset="-79"/>
                <a:cs typeface="Yango Text Medium" panose="020B0504020202020204" pitchFamily="34" charset="-79"/>
              </a:defRPr>
            </a:lvl2pPr>
            <a:lvl3pPr marL="461237" marR="0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tabLst/>
              <a:defRPr sz="3200" b="0" i="0"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3pPr>
            <a:lvl4pPr marL="1080000" indent="-457200" defTabSz="1828619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Font typeface="System Font Regular"/>
              <a:buChar char="−"/>
              <a:tabLst/>
              <a:defRPr sz="3200" b="0" i="0"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4pPr>
            <a:lvl5pPr marL="0" indent="0" defTabSz="1828619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FontTx/>
              <a:buNone/>
              <a:defRPr sz="3200" b="0" i="0" baseline="0"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pPr lvl="1">
              <a:lnSpc>
                <a:spcPct val="80000"/>
              </a:lnSpc>
            </a:pPr>
            <a:r>
              <a:rPr lang="ru-RU" sz="3200" dirty="0">
                <a:latin typeface="+mj-lt"/>
              </a:rPr>
              <a:t>«месяц заботы</a:t>
            </a:r>
            <a:br>
              <a:rPr lang="ru-RU" sz="3200" dirty="0">
                <a:latin typeface="+mj-lt"/>
              </a:rPr>
            </a:br>
            <a:r>
              <a:rPr lang="ru-RU" sz="3200" dirty="0">
                <a:latin typeface="+mj-lt"/>
              </a:rPr>
              <a:t>о себе»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2899FC8-864B-3B95-615B-FB374D5859AC}"/>
              </a:ext>
            </a:extLst>
          </p:cNvPr>
          <p:cNvSpPr txBox="1">
            <a:spLocks/>
          </p:cNvSpPr>
          <p:nvPr/>
        </p:nvSpPr>
        <p:spPr>
          <a:xfrm>
            <a:off x="6424441" y="4371720"/>
            <a:ext cx="3150633" cy="1661993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2800">
                <a:solidFill>
                  <a:schemeClr val="accent3">
                    <a:lumMod val="60000"/>
                    <a:lumOff val="40000"/>
                    <a:alpha val="85749"/>
                  </a:schemeClr>
                </a:solidFill>
                <a:cs typeface="YS Geo Medium" pitchFamily="34" charset="-120"/>
              </a:defRPr>
            </a:lvl1pPr>
          </a:lstStyle>
          <a:p>
            <a:r>
              <a:rPr lang="ru-RU" sz="2400" dirty="0" err="1"/>
              <a:t>оккейжен</a:t>
            </a:r>
            <a:r>
              <a:rPr lang="ru-RU" sz="2400" dirty="0"/>
              <a:t>, созданный для одного</a:t>
            </a:r>
            <a:r>
              <a:rPr lang="en-US" sz="2400" dirty="0"/>
              <a:t> </a:t>
            </a:r>
            <a:br>
              <a:rPr lang="en-US" sz="2400" dirty="0"/>
            </a:br>
            <a:r>
              <a:rPr lang="ru-RU" sz="2400" dirty="0"/>
              <a:t>с персональными подборками </a:t>
            </a:r>
            <a:br>
              <a:rPr lang="ru-RU" sz="2400" dirty="0"/>
            </a:br>
            <a:r>
              <a:rPr lang="ru-RU" sz="2400" dirty="0"/>
              <a:t>и советами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D9CA6C0-E3A5-8474-8106-6EDFDBD1D439}"/>
              </a:ext>
            </a:extLst>
          </p:cNvPr>
          <p:cNvSpPr txBox="1">
            <a:spLocks/>
          </p:cNvSpPr>
          <p:nvPr/>
        </p:nvSpPr>
        <p:spPr>
          <a:xfrm>
            <a:off x="20108855" y="3419642"/>
            <a:ext cx="3150633" cy="79194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ru-RU"/>
            </a:defPPr>
            <a:lvl1pPr indent="0" defTabSz="1828619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FontTx/>
              <a:buNone/>
              <a:defRPr sz="3200" b="0" i="0"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b="0" i="0" baseline="0">
                <a:solidFill>
                  <a:schemeClr val="bg1"/>
                </a:solidFill>
                <a:ea typeface="Yango Text Medium" panose="020B0504020202020204" pitchFamily="34" charset="-79"/>
                <a:cs typeface="Yango Text Medium" panose="020B0504020202020204" pitchFamily="34" charset="-79"/>
              </a:defRPr>
            </a:lvl2pPr>
            <a:lvl3pPr marL="461237" marR="0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tabLst/>
              <a:defRPr sz="3200" b="0" i="0"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3pPr>
            <a:lvl4pPr marL="1080000" indent="-457200" defTabSz="1828619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Font typeface="System Font Regular"/>
              <a:buChar char="−"/>
              <a:tabLst/>
              <a:defRPr sz="3200" b="0" i="0"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4pPr>
            <a:lvl5pPr marL="0" indent="0" defTabSz="1828619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FontTx/>
              <a:buNone/>
              <a:defRPr sz="3200" b="0" i="0" baseline="0"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pPr lvl="1">
              <a:lnSpc>
                <a:spcPct val="80000"/>
              </a:lnSpc>
            </a:pPr>
            <a:r>
              <a:rPr lang="ru-RU" sz="3200" dirty="0">
                <a:latin typeface="+mj-lt"/>
              </a:rPr>
              <a:t>персональные цели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CE0F312-F915-1656-CB9B-EBADE190AC07}"/>
              </a:ext>
            </a:extLst>
          </p:cNvPr>
          <p:cNvSpPr txBox="1">
            <a:spLocks/>
          </p:cNvSpPr>
          <p:nvPr/>
        </p:nvSpPr>
        <p:spPr>
          <a:xfrm>
            <a:off x="20108855" y="4371720"/>
            <a:ext cx="3150633" cy="1661993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2800">
                <a:solidFill>
                  <a:schemeClr val="accent3">
                    <a:lumMod val="60000"/>
                    <a:lumOff val="40000"/>
                    <a:alpha val="85749"/>
                  </a:schemeClr>
                </a:solidFill>
                <a:cs typeface="YS Geo Medium" pitchFamily="34" charset="-120"/>
              </a:defRPr>
            </a:lvl1pPr>
          </a:lstStyle>
          <a:p>
            <a:r>
              <a:rPr lang="ru-RU" sz="2400" dirty="0"/>
              <a:t>подстегиваем </a:t>
            </a:r>
            <a:br>
              <a:rPr lang="ru-RU" sz="2400" dirty="0"/>
            </a:br>
            <a:r>
              <a:rPr lang="ru-RU" sz="2400" dirty="0"/>
              <a:t>к своему собственному пути </a:t>
            </a:r>
            <a:br>
              <a:rPr lang="ru-RU" sz="2400" dirty="0"/>
            </a:br>
            <a:r>
              <a:rPr lang="ru-RU" sz="2400" dirty="0"/>
              <a:t>и достижениям </a:t>
            </a:r>
            <a:br>
              <a:rPr lang="ru-RU" sz="2400" dirty="0"/>
            </a:br>
            <a:r>
              <a:rPr lang="ru-RU" sz="2400" dirty="0"/>
              <a:t>и поощряем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C9D3B71-9B7A-2D28-4231-1158C9A58ED8}"/>
              </a:ext>
            </a:extLst>
          </p:cNvPr>
          <p:cNvSpPr txBox="1">
            <a:spLocks/>
          </p:cNvSpPr>
          <p:nvPr/>
        </p:nvSpPr>
        <p:spPr>
          <a:xfrm>
            <a:off x="20108854" y="8020622"/>
            <a:ext cx="3150633" cy="79194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ru-RU"/>
            </a:defPPr>
            <a:lvl1pPr indent="0" defTabSz="1828619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FontTx/>
              <a:buNone/>
              <a:defRPr sz="3200" b="0" i="0"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b="0" i="0" baseline="0">
                <a:solidFill>
                  <a:schemeClr val="bg1"/>
                </a:solidFill>
                <a:ea typeface="Yango Text Medium" panose="020B0504020202020204" pitchFamily="34" charset="-79"/>
                <a:cs typeface="Yango Text Medium" panose="020B0504020202020204" pitchFamily="34" charset="-79"/>
              </a:defRPr>
            </a:lvl2pPr>
            <a:lvl3pPr marL="461237" marR="0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tabLst/>
              <a:defRPr sz="3200" b="0" i="0"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3pPr>
            <a:lvl4pPr marL="1080000" indent="-457200" defTabSz="1828619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Font typeface="System Font Regular"/>
              <a:buChar char="−"/>
              <a:tabLst/>
              <a:defRPr sz="3200" b="0" i="0"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4pPr>
            <a:lvl5pPr marL="0" indent="0" defTabSz="1828619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FontTx/>
              <a:buNone/>
              <a:defRPr sz="3200" b="0" i="0" baseline="0"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pPr lvl="1">
              <a:lnSpc>
                <a:spcPct val="80000"/>
              </a:lnSpc>
            </a:pPr>
            <a:r>
              <a:rPr lang="ru-RU" sz="3200" dirty="0">
                <a:latin typeface="+mj-lt"/>
              </a:rPr>
              <a:t>кампания «порадовать себя»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25109F1-0E9E-209D-F2D7-2EA7186777D6}"/>
              </a:ext>
            </a:extLst>
          </p:cNvPr>
          <p:cNvSpPr txBox="1">
            <a:spLocks/>
          </p:cNvSpPr>
          <p:nvPr/>
        </p:nvSpPr>
        <p:spPr>
          <a:xfrm>
            <a:off x="20108855" y="9248356"/>
            <a:ext cx="3150633" cy="664797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2800">
                <a:solidFill>
                  <a:schemeClr val="accent3">
                    <a:lumMod val="60000"/>
                    <a:lumOff val="40000"/>
                    <a:alpha val="85749"/>
                  </a:schemeClr>
                </a:solidFill>
                <a:cs typeface="YS Geo Medium" pitchFamily="34" charset="-120"/>
              </a:defRPr>
            </a:lvl1pPr>
          </a:lstStyle>
          <a:p>
            <a:r>
              <a:rPr lang="ru-RU" sz="2400" dirty="0"/>
              <a:t>в любое время </a:t>
            </a:r>
            <a:br>
              <a:rPr lang="en-US" sz="2400" dirty="0"/>
            </a:br>
            <a:r>
              <a:rPr lang="ru-RU" sz="2400" dirty="0"/>
              <a:t>и чем хочется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1DD772E-2C9B-97F1-8A4E-9DAF44586C4D}"/>
              </a:ext>
            </a:extLst>
          </p:cNvPr>
          <p:cNvGrpSpPr/>
          <p:nvPr/>
        </p:nvGrpSpPr>
        <p:grpSpPr>
          <a:xfrm>
            <a:off x="6919816" y="7223205"/>
            <a:ext cx="12710998" cy="5723539"/>
            <a:chOff x="8307013" y="7615090"/>
            <a:chExt cx="10452944" cy="4706777"/>
          </a:xfrm>
        </p:grpSpPr>
        <p:pic>
          <p:nvPicPr>
            <p:cNvPr id="10" name="Рисунок 9">
              <a:extLst>
                <a:ext uri="{FF2B5EF4-FFF2-40B4-BE49-F238E27FC236}">
                  <a16:creationId xmlns:a16="http://schemas.microsoft.com/office/drawing/2014/main" id="{97F20E11-32E6-53B3-24AA-680A351D15B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901" t="7353" b="23859"/>
            <a:stretch>
              <a:fillRect/>
            </a:stretch>
          </p:blipFill>
          <p:spPr>
            <a:xfrm>
              <a:off x="8785053" y="8270849"/>
              <a:ext cx="9974904" cy="4051018"/>
            </a:xfrm>
            <a:prstGeom prst="roundRect">
              <a:avLst>
                <a:gd name="adj" fmla="val 4905"/>
              </a:avLst>
            </a:prstGeom>
          </p:spPr>
        </p:pic>
        <p:grpSp>
          <p:nvGrpSpPr>
            <p:cNvPr id="16" name="Группа 28">
              <a:extLst>
                <a:ext uri="{FF2B5EF4-FFF2-40B4-BE49-F238E27FC236}">
                  <a16:creationId xmlns:a16="http://schemas.microsoft.com/office/drawing/2014/main" id="{A336DC2D-06D8-0F92-71FA-9C9AA95D4477}"/>
                </a:ext>
              </a:extLst>
            </p:cNvPr>
            <p:cNvGrpSpPr/>
            <p:nvPr/>
          </p:nvGrpSpPr>
          <p:grpSpPr>
            <a:xfrm>
              <a:off x="8307013" y="7615090"/>
              <a:ext cx="1477534" cy="1477534"/>
              <a:chOff x="8773718" y="4392326"/>
              <a:chExt cx="1477534" cy="1477534"/>
            </a:xfrm>
          </p:grpSpPr>
          <p:sp>
            <p:nvSpPr>
              <p:cNvPr id="17" name="Овал 15">
                <a:extLst>
                  <a:ext uri="{FF2B5EF4-FFF2-40B4-BE49-F238E27FC236}">
                    <a16:creationId xmlns:a16="http://schemas.microsoft.com/office/drawing/2014/main" id="{4A39A7A9-DBFB-CB1A-C498-AB74383F95FC}"/>
                  </a:ext>
                </a:extLst>
              </p:cNvPr>
              <p:cNvSpPr/>
              <p:nvPr/>
            </p:nvSpPr>
            <p:spPr>
              <a:xfrm>
                <a:off x="8773718" y="4392326"/>
                <a:ext cx="1477534" cy="1477534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t"/>
              <a:lstStyle/>
              <a:p>
                <a:endParaRPr lang="ru-RU" sz="3200" dirty="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19" name="Graphic 7">
                <a:extLst>
                  <a:ext uri="{FF2B5EF4-FFF2-40B4-BE49-F238E27FC236}">
                    <a16:creationId xmlns:a16="http://schemas.microsoft.com/office/drawing/2014/main" id="{04A54F90-AE83-19C6-96F1-A7AC742F9CD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8967444" y="4586052"/>
                <a:ext cx="1090083" cy="1090083"/>
              </a:xfrm>
              <a:prstGeom prst="rect">
                <a:avLst/>
              </a:prstGeom>
            </p:spPr>
          </p:pic>
        </p:grp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4EE5E08-505D-F4E9-B82C-65A942BD7D2C}"/>
              </a:ext>
            </a:extLst>
          </p:cNvPr>
          <p:cNvGrpSpPr/>
          <p:nvPr/>
        </p:nvGrpSpPr>
        <p:grpSpPr>
          <a:xfrm>
            <a:off x="832070" y="3018099"/>
            <a:ext cx="1477534" cy="1477534"/>
            <a:chOff x="12929918" y="3113277"/>
            <a:chExt cx="1477534" cy="1477534"/>
          </a:xfrm>
        </p:grpSpPr>
        <p:sp>
          <p:nvSpPr>
            <p:cNvPr id="24" name="Овал 16">
              <a:extLst>
                <a:ext uri="{FF2B5EF4-FFF2-40B4-BE49-F238E27FC236}">
                  <a16:creationId xmlns:a16="http://schemas.microsoft.com/office/drawing/2014/main" id="{2DA3CF6D-D628-B2BE-D155-B3C0042E74D1}"/>
                </a:ext>
              </a:extLst>
            </p:cNvPr>
            <p:cNvSpPr/>
            <p:nvPr/>
          </p:nvSpPr>
          <p:spPr>
            <a:xfrm>
              <a:off x="12929918" y="3113277"/>
              <a:ext cx="1477534" cy="147753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endParaRPr lang="ru-RU" sz="3200" dirty="0" err="1">
                <a:solidFill>
                  <a:schemeClr val="tx1"/>
                </a:solidFill>
              </a:endParaRPr>
            </a:p>
          </p:txBody>
        </p:sp>
        <p:grpSp>
          <p:nvGrpSpPr>
            <p:cNvPr id="25" name="Group 152">
              <a:extLst>
                <a:ext uri="{FF2B5EF4-FFF2-40B4-BE49-F238E27FC236}">
                  <a16:creationId xmlns:a16="http://schemas.microsoft.com/office/drawing/2014/main" id="{A208C082-9ADC-FBF8-F179-DAF4AF6C255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3014753" y="3218190"/>
              <a:ext cx="1305798" cy="1305798"/>
              <a:chOff x="5578124" y="2110190"/>
              <a:chExt cx="1141300" cy="1141300"/>
            </a:xfrm>
          </p:grpSpPr>
          <p:sp>
            <p:nvSpPr>
              <p:cNvPr id="26" name="Freeform: Shape 153">
                <a:extLst>
                  <a:ext uri="{FF2B5EF4-FFF2-40B4-BE49-F238E27FC236}">
                    <a16:creationId xmlns:a16="http://schemas.microsoft.com/office/drawing/2014/main" id="{16E07D7E-FBB2-840E-BF75-5F2ED409352D}"/>
                  </a:ext>
                </a:extLst>
              </p:cNvPr>
              <p:cNvSpPr/>
              <p:nvPr/>
            </p:nvSpPr>
            <p:spPr>
              <a:xfrm>
                <a:off x="5578124" y="2110190"/>
                <a:ext cx="1141300" cy="1141300"/>
              </a:xfrm>
              <a:custGeom>
                <a:avLst/>
                <a:gdLst>
                  <a:gd name="connsiteX0" fmla="*/ 222 w 1141300"/>
                  <a:gd name="connsiteY0" fmla="*/ 0 h 1141300"/>
                  <a:gd name="connsiteX1" fmla="*/ 1141523 w 1141300"/>
                  <a:gd name="connsiteY1" fmla="*/ 0 h 1141300"/>
                  <a:gd name="connsiteX2" fmla="*/ 1141523 w 1141300"/>
                  <a:gd name="connsiteY2" fmla="*/ 1141301 h 1141300"/>
                  <a:gd name="connsiteX3" fmla="*/ 222 w 1141300"/>
                  <a:gd name="connsiteY3" fmla="*/ 1141301 h 1141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41300" h="1141300">
                    <a:moveTo>
                      <a:pt x="222" y="0"/>
                    </a:moveTo>
                    <a:lnTo>
                      <a:pt x="1141523" y="0"/>
                    </a:lnTo>
                    <a:lnTo>
                      <a:pt x="1141523" y="1141301"/>
                    </a:lnTo>
                    <a:lnTo>
                      <a:pt x="222" y="1141301"/>
                    </a:lnTo>
                    <a:close/>
                  </a:path>
                </a:pathLst>
              </a:custGeom>
              <a:noFill/>
              <a:ln w="114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7" name="Freeform: Shape 154">
                <a:extLst>
                  <a:ext uri="{FF2B5EF4-FFF2-40B4-BE49-F238E27FC236}">
                    <a16:creationId xmlns:a16="http://schemas.microsoft.com/office/drawing/2014/main" id="{9936A7AC-1EB5-75E0-5643-A3F9D13093AA}"/>
                  </a:ext>
                </a:extLst>
              </p:cNvPr>
              <p:cNvSpPr/>
              <p:nvPr/>
            </p:nvSpPr>
            <p:spPr>
              <a:xfrm>
                <a:off x="5686547" y="2218613"/>
                <a:ext cx="913040" cy="913040"/>
              </a:xfrm>
              <a:custGeom>
                <a:avLst/>
                <a:gdLst>
                  <a:gd name="connsiteX0" fmla="*/ 913040 w 913040"/>
                  <a:gd name="connsiteY0" fmla="*/ 456520 h 913040"/>
                  <a:gd name="connsiteX1" fmla="*/ 456520 w 913040"/>
                  <a:gd name="connsiteY1" fmla="*/ 913041 h 913040"/>
                  <a:gd name="connsiteX2" fmla="*/ 0 w 913040"/>
                  <a:gd name="connsiteY2" fmla="*/ 456520 h 913040"/>
                  <a:gd name="connsiteX3" fmla="*/ 456520 w 913040"/>
                  <a:gd name="connsiteY3" fmla="*/ 0 h 913040"/>
                  <a:gd name="connsiteX4" fmla="*/ 913040 w 913040"/>
                  <a:gd name="connsiteY4" fmla="*/ 456520 h 913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13040" h="913040">
                    <a:moveTo>
                      <a:pt x="913040" y="456520"/>
                    </a:moveTo>
                    <a:cubicBezTo>
                      <a:pt x="913040" y="708650"/>
                      <a:pt x="708645" y="913041"/>
                      <a:pt x="456520" y="913041"/>
                    </a:cubicBezTo>
                    <a:cubicBezTo>
                      <a:pt x="204395" y="913041"/>
                      <a:pt x="0" y="708650"/>
                      <a:pt x="0" y="456520"/>
                    </a:cubicBezTo>
                    <a:cubicBezTo>
                      <a:pt x="0" y="204391"/>
                      <a:pt x="204395" y="0"/>
                      <a:pt x="456520" y="0"/>
                    </a:cubicBezTo>
                    <a:cubicBezTo>
                      <a:pt x="708645" y="0"/>
                      <a:pt x="913040" y="204391"/>
                      <a:pt x="913040" y="456520"/>
                    </a:cubicBezTo>
                    <a:close/>
                  </a:path>
                </a:pathLst>
              </a:custGeom>
              <a:solidFill>
                <a:schemeClr val="bg2"/>
              </a:solidFill>
              <a:ln w="114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8" name="Freeform: Shape 155">
                <a:extLst>
                  <a:ext uri="{FF2B5EF4-FFF2-40B4-BE49-F238E27FC236}">
                    <a16:creationId xmlns:a16="http://schemas.microsoft.com/office/drawing/2014/main" id="{56B39510-1159-78B8-4A1B-1AE27E775BAF}"/>
                  </a:ext>
                </a:extLst>
              </p:cNvPr>
              <p:cNvSpPr/>
              <p:nvPr/>
            </p:nvSpPr>
            <p:spPr>
              <a:xfrm>
                <a:off x="5824211" y="2351256"/>
                <a:ext cx="589264" cy="647763"/>
              </a:xfrm>
              <a:custGeom>
                <a:avLst/>
                <a:gdLst>
                  <a:gd name="connsiteX0" fmla="*/ 540474 w 589264"/>
                  <a:gd name="connsiteY0" fmla="*/ 498428 h 647763"/>
                  <a:gd name="connsiteX1" fmla="*/ 346145 w 589264"/>
                  <a:gd name="connsiteY1" fmla="*/ 572818 h 647763"/>
                  <a:gd name="connsiteX2" fmla="*/ 73865 w 589264"/>
                  <a:gd name="connsiteY2" fmla="*/ 312302 h 647763"/>
                  <a:gd name="connsiteX3" fmla="*/ 305275 w 589264"/>
                  <a:gd name="connsiteY3" fmla="*/ 74946 h 647763"/>
                  <a:gd name="connsiteX4" fmla="*/ 513380 w 589264"/>
                  <a:gd name="connsiteY4" fmla="*/ 271796 h 647763"/>
                  <a:gd name="connsiteX5" fmla="*/ 346145 w 589264"/>
                  <a:gd name="connsiteY5" fmla="*/ 445530 h 647763"/>
                  <a:gd name="connsiteX6" fmla="*/ 202250 w 589264"/>
                  <a:gd name="connsiteY6" fmla="*/ 312302 h 647763"/>
                  <a:gd name="connsiteX7" fmla="*/ 305321 w 589264"/>
                  <a:gd name="connsiteY7" fmla="*/ 202234 h 647763"/>
                  <a:gd name="connsiteX8" fmla="*/ 385041 w 589264"/>
                  <a:gd name="connsiteY8" fmla="*/ 271796 h 647763"/>
                  <a:gd name="connsiteX9" fmla="*/ 346145 w 589264"/>
                  <a:gd name="connsiteY9" fmla="*/ 318199 h 647763"/>
                  <a:gd name="connsiteX10" fmla="*/ 334344 w 589264"/>
                  <a:gd name="connsiteY10" fmla="*/ 315122 h 647763"/>
                  <a:gd name="connsiteX11" fmla="*/ 341854 w 589264"/>
                  <a:gd name="connsiteY11" fmla="*/ 286537 h 647763"/>
                  <a:gd name="connsiteX12" fmla="*/ 299877 w 589264"/>
                  <a:gd name="connsiteY12" fmla="*/ 254961 h 647763"/>
                  <a:gd name="connsiteX13" fmla="*/ 266129 w 589264"/>
                  <a:gd name="connsiteY13" fmla="*/ 278248 h 647763"/>
                  <a:gd name="connsiteX14" fmla="*/ 256690 w 589264"/>
                  <a:gd name="connsiteY14" fmla="*/ 312302 h 647763"/>
                  <a:gd name="connsiteX15" fmla="*/ 346145 w 589264"/>
                  <a:gd name="connsiteY15" fmla="*/ 393145 h 647763"/>
                  <a:gd name="connsiteX16" fmla="*/ 458940 w 589264"/>
                  <a:gd name="connsiteY16" fmla="*/ 271796 h 647763"/>
                  <a:gd name="connsiteX17" fmla="*/ 305321 w 589264"/>
                  <a:gd name="connsiteY17" fmla="*/ 127288 h 647763"/>
                  <a:gd name="connsiteX18" fmla="*/ 128351 w 589264"/>
                  <a:gd name="connsiteY18" fmla="*/ 312302 h 647763"/>
                  <a:gd name="connsiteX19" fmla="*/ 346191 w 589264"/>
                  <a:gd name="connsiteY19" fmla="*/ 520433 h 647763"/>
                  <a:gd name="connsiteX20" fmla="*/ 587325 w 589264"/>
                  <a:gd name="connsiteY20" fmla="*/ 271753 h 647763"/>
                  <a:gd name="connsiteX21" fmla="*/ 305321 w 589264"/>
                  <a:gd name="connsiteY21" fmla="*/ 0 h 647763"/>
                  <a:gd name="connsiteX22" fmla="*/ 0 w 589264"/>
                  <a:gd name="connsiteY22" fmla="*/ 312302 h 647763"/>
                  <a:gd name="connsiteX23" fmla="*/ 346191 w 589264"/>
                  <a:gd name="connsiteY23" fmla="*/ 647763 h 647763"/>
                  <a:gd name="connsiteX24" fmla="*/ 589265 w 589264"/>
                  <a:gd name="connsiteY24" fmla="*/ 554744 h 647763"/>
                  <a:gd name="connsiteX25" fmla="*/ 540474 w 589264"/>
                  <a:gd name="connsiteY25" fmla="*/ 498428 h 647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589264" h="647763">
                    <a:moveTo>
                      <a:pt x="540474" y="498428"/>
                    </a:moveTo>
                    <a:cubicBezTo>
                      <a:pt x="488351" y="544831"/>
                      <a:pt x="420341" y="572818"/>
                      <a:pt x="346145" y="572818"/>
                    </a:cubicBezTo>
                    <a:cubicBezTo>
                      <a:pt x="190494" y="572818"/>
                      <a:pt x="73865" y="451255"/>
                      <a:pt x="73865" y="312302"/>
                    </a:cubicBezTo>
                    <a:cubicBezTo>
                      <a:pt x="73865" y="181638"/>
                      <a:pt x="177187" y="74946"/>
                      <a:pt x="305275" y="74946"/>
                    </a:cubicBezTo>
                    <a:cubicBezTo>
                      <a:pt x="426162" y="74946"/>
                      <a:pt x="513380" y="169460"/>
                      <a:pt x="513380" y="271796"/>
                    </a:cubicBezTo>
                    <a:cubicBezTo>
                      <a:pt x="513380" y="367721"/>
                      <a:pt x="438339" y="445530"/>
                      <a:pt x="346145" y="445530"/>
                    </a:cubicBezTo>
                    <a:cubicBezTo>
                      <a:pt x="261792" y="445530"/>
                      <a:pt x="202250" y="381095"/>
                      <a:pt x="202250" y="312302"/>
                    </a:cubicBezTo>
                    <a:cubicBezTo>
                      <a:pt x="202250" y="250560"/>
                      <a:pt x="249614" y="202234"/>
                      <a:pt x="305321" y="202234"/>
                    </a:cubicBezTo>
                    <a:cubicBezTo>
                      <a:pt x="354613" y="202234"/>
                      <a:pt x="385041" y="238468"/>
                      <a:pt x="385041" y="271796"/>
                    </a:cubicBezTo>
                    <a:cubicBezTo>
                      <a:pt x="385041" y="300722"/>
                      <a:pt x="364851" y="318199"/>
                      <a:pt x="346145" y="318199"/>
                    </a:cubicBezTo>
                    <a:cubicBezTo>
                      <a:pt x="339526" y="318199"/>
                      <a:pt x="337003" y="316789"/>
                      <a:pt x="334344" y="315122"/>
                    </a:cubicBezTo>
                    <a:cubicBezTo>
                      <a:pt x="340370" y="307303"/>
                      <a:pt x="343360" y="297133"/>
                      <a:pt x="341854" y="286537"/>
                    </a:cubicBezTo>
                    <a:cubicBezTo>
                      <a:pt x="338852" y="266070"/>
                      <a:pt x="320066" y="251927"/>
                      <a:pt x="299877" y="254961"/>
                    </a:cubicBezTo>
                    <a:cubicBezTo>
                      <a:pt x="282563" y="257568"/>
                      <a:pt x="271572" y="269445"/>
                      <a:pt x="266129" y="278248"/>
                    </a:cubicBezTo>
                    <a:cubicBezTo>
                      <a:pt x="259977" y="288118"/>
                      <a:pt x="256690" y="299997"/>
                      <a:pt x="256690" y="312302"/>
                    </a:cubicBezTo>
                    <a:cubicBezTo>
                      <a:pt x="256690" y="361397"/>
                      <a:pt x="302068" y="393145"/>
                      <a:pt x="346145" y="393145"/>
                    </a:cubicBezTo>
                    <a:cubicBezTo>
                      <a:pt x="410526" y="393187"/>
                      <a:pt x="458940" y="336486"/>
                      <a:pt x="458940" y="271796"/>
                    </a:cubicBezTo>
                    <a:cubicBezTo>
                      <a:pt x="458940" y="192620"/>
                      <a:pt x="390896" y="127288"/>
                      <a:pt x="305321" y="127288"/>
                    </a:cubicBezTo>
                    <a:cubicBezTo>
                      <a:pt x="205925" y="127288"/>
                      <a:pt x="128351" y="212146"/>
                      <a:pt x="128351" y="312302"/>
                    </a:cubicBezTo>
                    <a:cubicBezTo>
                      <a:pt x="128351" y="425790"/>
                      <a:pt x="224288" y="520433"/>
                      <a:pt x="346191" y="520433"/>
                    </a:cubicBezTo>
                    <a:cubicBezTo>
                      <a:pt x="480933" y="520433"/>
                      <a:pt x="587325" y="407288"/>
                      <a:pt x="587325" y="271753"/>
                    </a:cubicBezTo>
                    <a:cubicBezTo>
                      <a:pt x="587325" y="126049"/>
                      <a:pt x="465012" y="0"/>
                      <a:pt x="305321" y="0"/>
                    </a:cubicBezTo>
                    <a:cubicBezTo>
                      <a:pt x="135427" y="0"/>
                      <a:pt x="0" y="141260"/>
                      <a:pt x="0" y="312302"/>
                    </a:cubicBezTo>
                    <a:cubicBezTo>
                      <a:pt x="0" y="494924"/>
                      <a:pt x="152033" y="647763"/>
                      <a:pt x="346191" y="647763"/>
                    </a:cubicBezTo>
                    <a:cubicBezTo>
                      <a:pt x="439059" y="647763"/>
                      <a:pt x="524257" y="612598"/>
                      <a:pt x="589265" y="554744"/>
                    </a:cubicBezTo>
                    <a:lnTo>
                      <a:pt x="540474" y="498428"/>
                    </a:lnTo>
                    <a:close/>
                  </a:path>
                </a:pathLst>
              </a:custGeom>
              <a:solidFill>
                <a:schemeClr val="tx2"/>
              </a:solidFill>
              <a:ln w="114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976EC09D-0AA5-88AE-6192-E174FF88ABF0}"/>
              </a:ext>
            </a:extLst>
          </p:cNvPr>
          <p:cNvGrpSpPr/>
          <p:nvPr/>
        </p:nvGrpSpPr>
        <p:grpSpPr>
          <a:xfrm>
            <a:off x="16566245" y="2670114"/>
            <a:ext cx="1477534" cy="1477534"/>
            <a:chOff x="12929918" y="3113277"/>
            <a:chExt cx="1477534" cy="1477534"/>
          </a:xfrm>
        </p:grpSpPr>
        <p:sp>
          <p:nvSpPr>
            <p:cNvPr id="31" name="Овал 16">
              <a:extLst>
                <a:ext uri="{FF2B5EF4-FFF2-40B4-BE49-F238E27FC236}">
                  <a16:creationId xmlns:a16="http://schemas.microsoft.com/office/drawing/2014/main" id="{6273385C-A966-EC54-38C0-9A4B5B68CF8A}"/>
                </a:ext>
              </a:extLst>
            </p:cNvPr>
            <p:cNvSpPr/>
            <p:nvPr/>
          </p:nvSpPr>
          <p:spPr>
            <a:xfrm>
              <a:off x="12929918" y="3113277"/>
              <a:ext cx="1477534" cy="147753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endParaRPr lang="ru-RU" sz="3200" dirty="0" err="1">
                <a:solidFill>
                  <a:schemeClr val="tx1"/>
                </a:solidFill>
              </a:endParaRPr>
            </a:p>
          </p:txBody>
        </p:sp>
        <p:grpSp>
          <p:nvGrpSpPr>
            <p:cNvPr id="32" name="Group 152">
              <a:extLst>
                <a:ext uri="{FF2B5EF4-FFF2-40B4-BE49-F238E27FC236}">
                  <a16:creationId xmlns:a16="http://schemas.microsoft.com/office/drawing/2014/main" id="{945E9B6E-C947-B97B-CCA0-DA7EC0684CC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3014753" y="3218190"/>
              <a:ext cx="1305798" cy="1305798"/>
              <a:chOff x="5578124" y="2110190"/>
              <a:chExt cx="1141300" cy="1141300"/>
            </a:xfrm>
          </p:grpSpPr>
          <p:sp>
            <p:nvSpPr>
              <p:cNvPr id="33" name="Freeform: Shape 153">
                <a:extLst>
                  <a:ext uri="{FF2B5EF4-FFF2-40B4-BE49-F238E27FC236}">
                    <a16:creationId xmlns:a16="http://schemas.microsoft.com/office/drawing/2014/main" id="{1C607006-C9FA-544F-4B35-0099FFCB89E7}"/>
                  </a:ext>
                </a:extLst>
              </p:cNvPr>
              <p:cNvSpPr/>
              <p:nvPr/>
            </p:nvSpPr>
            <p:spPr>
              <a:xfrm>
                <a:off x="5578124" y="2110190"/>
                <a:ext cx="1141300" cy="1141300"/>
              </a:xfrm>
              <a:custGeom>
                <a:avLst/>
                <a:gdLst>
                  <a:gd name="connsiteX0" fmla="*/ 222 w 1141300"/>
                  <a:gd name="connsiteY0" fmla="*/ 0 h 1141300"/>
                  <a:gd name="connsiteX1" fmla="*/ 1141523 w 1141300"/>
                  <a:gd name="connsiteY1" fmla="*/ 0 h 1141300"/>
                  <a:gd name="connsiteX2" fmla="*/ 1141523 w 1141300"/>
                  <a:gd name="connsiteY2" fmla="*/ 1141301 h 1141300"/>
                  <a:gd name="connsiteX3" fmla="*/ 222 w 1141300"/>
                  <a:gd name="connsiteY3" fmla="*/ 1141301 h 1141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41300" h="1141300">
                    <a:moveTo>
                      <a:pt x="222" y="0"/>
                    </a:moveTo>
                    <a:lnTo>
                      <a:pt x="1141523" y="0"/>
                    </a:lnTo>
                    <a:lnTo>
                      <a:pt x="1141523" y="1141301"/>
                    </a:lnTo>
                    <a:lnTo>
                      <a:pt x="222" y="1141301"/>
                    </a:lnTo>
                    <a:close/>
                  </a:path>
                </a:pathLst>
              </a:custGeom>
              <a:noFill/>
              <a:ln w="114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4" name="Freeform: Shape 154">
                <a:extLst>
                  <a:ext uri="{FF2B5EF4-FFF2-40B4-BE49-F238E27FC236}">
                    <a16:creationId xmlns:a16="http://schemas.microsoft.com/office/drawing/2014/main" id="{B999B926-4F57-1A15-A17A-363BE91004BB}"/>
                  </a:ext>
                </a:extLst>
              </p:cNvPr>
              <p:cNvSpPr/>
              <p:nvPr/>
            </p:nvSpPr>
            <p:spPr>
              <a:xfrm>
                <a:off x="5686547" y="2218613"/>
                <a:ext cx="913040" cy="913040"/>
              </a:xfrm>
              <a:custGeom>
                <a:avLst/>
                <a:gdLst>
                  <a:gd name="connsiteX0" fmla="*/ 913040 w 913040"/>
                  <a:gd name="connsiteY0" fmla="*/ 456520 h 913040"/>
                  <a:gd name="connsiteX1" fmla="*/ 456520 w 913040"/>
                  <a:gd name="connsiteY1" fmla="*/ 913041 h 913040"/>
                  <a:gd name="connsiteX2" fmla="*/ 0 w 913040"/>
                  <a:gd name="connsiteY2" fmla="*/ 456520 h 913040"/>
                  <a:gd name="connsiteX3" fmla="*/ 456520 w 913040"/>
                  <a:gd name="connsiteY3" fmla="*/ 0 h 913040"/>
                  <a:gd name="connsiteX4" fmla="*/ 913040 w 913040"/>
                  <a:gd name="connsiteY4" fmla="*/ 456520 h 913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13040" h="913040">
                    <a:moveTo>
                      <a:pt x="913040" y="456520"/>
                    </a:moveTo>
                    <a:cubicBezTo>
                      <a:pt x="913040" y="708650"/>
                      <a:pt x="708645" y="913041"/>
                      <a:pt x="456520" y="913041"/>
                    </a:cubicBezTo>
                    <a:cubicBezTo>
                      <a:pt x="204395" y="913041"/>
                      <a:pt x="0" y="708650"/>
                      <a:pt x="0" y="456520"/>
                    </a:cubicBezTo>
                    <a:cubicBezTo>
                      <a:pt x="0" y="204391"/>
                      <a:pt x="204395" y="0"/>
                      <a:pt x="456520" y="0"/>
                    </a:cubicBezTo>
                    <a:cubicBezTo>
                      <a:pt x="708645" y="0"/>
                      <a:pt x="913040" y="204391"/>
                      <a:pt x="913040" y="456520"/>
                    </a:cubicBezTo>
                    <a:close/>
                  </a:path>
                </a:pathLst>
              </a:custGeom>
              <a:solidFill>
                <a:schemeClr val="bg2"/>
              </a:solidFill>
              <a:ln w="114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5" name="Freeform: Shape 155">
                <a:extLst>
                  <a:ext uri="{FF2B5EF4-FFF2-40B4-BE49-F238E27FC236}">
                    <a16:creationId xmlns:a16="http://schemas.microsoft.com/office/drawing/2014/main" id="{C5DDF65A-D40A-8DC6-4FF3-281B44856C50}"/>
                  </a:ext>
                </a:extLst>
              </p:cNvPr>
              <p:cNvSpPr/>
              <p:nvPr/>
            </p:nvSpPr>
            <p:spPr>
              <a:xfrm>
                <a:off x="5824211" y="2351256"/>
                <a:ext cx="589264" cy="647763"/>
              </a:xfrm>
              <a:custGeom>
                <a:avLst/>
                <a:gdLst>
                  <a:gd name="connsiteX0" fmla="*/ 540474 w 589264"/>
                  <a:gd name="connsiteY0" fmla="*/ 498428 h 647763"/>
                  <a:gd name="connsiteX1" fmla="*/ 346145 w 589264"/>
                  <a:gd name="connsiteY1" fmla="*/ 572818 h 647763"/>
                  <a:gd name="connsiteX2" fmla="*/ 73865 w 589264"/>
                  <a:gd name="connsiteY2" fmla="*/ 312302 h 647763"/>
                  <a:gd name="connsiteX3" fmla="*/ 305275 w 589264"/>
                  <a:gd name="connsiteY3" fmla="*/ 74946 h 647763"/>
                  <a:gd name="connsiteX4" fmla="*/ 513380 w 589264"/>
                  <a:gd name="connsiteY4" fmla="*/ 271796 h 647763"/>
                  <a:gd name="connsiteX5" fmla="*/ 346145 w 589264"/>
                  <a:gd name="connsiteY5" fmla="*/ 445530 h 647763"/>
                  <a:gd name="connsiteX6" fmla="*/ 202250 w 589264"/>
                  <a:gd name="connsiteY6" fmla="*/ 312302 h 647763"/>
                  <a:gd name="connsiteX7" fmla="*/ 305321 w 589264"/>
                  <a:gd name="connsiteY7" fmla="*/ 202234 h 647763"/>
                  <a:gd name="connsiteX8" fmla="*/ 385041 w 589264"/>
                  <a:gd name="connsiteY8" fmla="*/ 271796 h 647763"/>
                  <a:gd name="connsiteX9" fmla="*/ 346145 w 589264"/>
                  <a:gd name="connsiteY9" fmla="*/ 318199 h 647763"/>
                  <a:gd name="connsiteX10" fmla="*/ 334344 w 589264"/>
                  <a:gd name="connsiteY10" fmla="*/ 315122 h 647763"/>
                  <a:gd name="connsiteX11" fmla="*/ 341854 w 589264"/>
                  <a:gd name="connsiteY11" fmla="*/ 286537 h 647763"/>
                  <a:gd name="connsiteX12" fmla="*/ 299877 w 589264"/>
                  <a:gd name="connsiteY12" fmla="*/ 254961 h 647763"/>
                  <a:gd name="connsiteX13" fmla="*/ 266129 w 589264"/>
                  <a:gd name="connsiteY13" fmla="*/ 278248 h 647763"/>
                  <a:gd name="connsiteX14" fmla="*/ 256690 w 589264"/>
                  <a:gd name="connsiteY14" fmla="*/ 312302 h 647763"/>
                  <a:gd name="connsiteX15" fmla="*/ 346145 w 589264"/>
                  <a:gd name="connsiteY15" fmla="*/ 393145 h 647763"/>
                  <a:gd name="connsiteX16" fmla="*/ 458940 w 589264"/>
                  <a:gd name="connsiteY16" fmla="*/ 271796 h 647763"/>
                  <a:gd name="connsiteX17" fmla="*/ 305321 w 589264"/>
                  <a:gd name="connsiteY17" fmla="*/ 127288 h 647763"/>
                  <a:gd name="connsiteX18" fmla="*/ 128351 w 589264"/>
                  <a:gd name="connsiteY18" fmla="*/ 312302 h 647763"/>
                  <a:gd name="connsiteX19" fmla="*/ 346191 w 589264"/>
                  <a:gd name="connsiteY19" fmla="*/ 520433 h 647763"/>
                  <a:gd name="connsiteX20" fmla="*/ 587325 w 589264"/>
                  <a:gd name="connsiteY20" fmla="*/ 271753 h 647763"/>
                  <a:gd name="connsiteX21" fmla="*/ 305321 w 589264"/>
                  <a:gd name="connsiteY21" fmla="*/ 0 h 647763"/>
                  <a:gd name="connsiteX22" fmla="*/ 0 w 589264"/>
                  <a:gd name="connsiteY22" fmla="*/ 312302 h 647763"/>
                  <a:gd name="connsiteX23" fmla="*/ 346191 w 589264"/>
                  <a:gd name="connsiteY23" fmla="*/ 647763 h 647763"/>
                  <a:gd name="connsiteX24" fmla="*/ 589265 w 589264"/>
                  <a:gd name="connsiteY24" fmla="*/ 554744 h 647763"/>
                  <a:gd name="connsiteX25" fmla="*/ 540474 w 589264"/>
                  <a:gd name="connsiteY25" fmla="*/ 498428 h 647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589264" h="647763">
                    <a:moveTo>
                      <a:pt x="540474" y="498428"/>
                    </a:moveTo>
                    <a:cubicBezTo>
                      <a:pt x="488351" y="544831"/>
                      <a:pt x="420341" y="572818"/>
                      <a:pt x="346145" y="572818"/>
                    </a:cubicBezTo>
                    <a:cubicBezTo>
                      <a:pt x="190494" y="572818"/>
                      <a:pt x="73865" y="451255"/>
                      <a:pt x="73865" y="312302"/>
                    </a:cubicBezTo>
                    <a:cubicBezTo>
                      <a:pt x="73865" y="181638"/>
                      <a:pt x="177187" y="74946"/>
                      <a:pt x="305275" y="74946"/>
                    </a:cubicBezTo>
                    <a:cubicBezTo>
                      <a:pt x="426162" y="74946"/>
                      <a:pt x="513380" y="169460"/>
                      <a:pt x="513380" y="271796"/>
                    </a:cubicBezTo>
                    <a:cubicBezTo>
                      <a:pt x="513380" y="367721"/>
                      <a:pt x="438339" y="445530"/>
                      <a:pt x="346145" y="445530"/>
                    </a:cubicBezTo>
                    <a:cubicBezTo>
                      <a:pt x="261792" y="445530"/>
                      <a:pt x="202250" y="381095"/>
                      <a:pt x="202250" y="312302"/>
                    </a:cubicBezTo>
                    <a:cubicBezTo>
                      <a:pt x="202250" y="250560"/>
                      <a:pt x="249614" y="202234"/>
                      <a:pt x="305321" y="202234"/>
                    </a:cubicBezTo>
                    <a:cubicBezTo>
                      <a:pt x="354613" y="202234"/>
                      <a:pt x="385041" y="238468"/>
                      <a:pt x="385041" y="271796"/>
                    </a:cubicBezTo>
                    <a:cubicBezTo>
                      <a:pt x="385041" y="300722"/>
                      <a:pt x="364851" y="318199"/>
                      <a:pt x="346145" y="318199"/>
                    </a:cubicBezTo>
                    <a:cubicBezTo>
                      <a:pt x="339526" y="318199"/>
                      <a:pt x="337003" y="316789"/>
                      <a:pt x="334344" y="315122"/>
                    </a:cubicBezTo>
                    <a:cubicBezTo>
                      <a:pt x="340370" y="307303"/>
                      <a:pt x="343360" y="297133"/>
                      <a:pt x="341854" y="286537"/>
                    </a:cubicBezTo>
                    <a:cubicBezTo>
                      <a:pt x="338852" y="266070"/>
                      <a:pt x="320066" y="251927"/>
                      <a:pt x="299877" y="254961"/>
                    </a:cubicBezTo>
                    <a:cubicBezTo>
                      <a:pt x="282563" y="257568"/>
                      <a:pt x="271572" y="269445"/>
                      <a:pt x="266129" y="278248"/>
                    </a:cubicBezTo>
                    <a:cubicBezTo>
                      <a:pt x="259977" y="288118"/>
                      <a:pt x="256690" y="299997"/>
                      <a:pt x="256690" y="312302"/>
                    </a:cubicBezTo>
                    <a:cubicBezTo>
                      <a:pt x="256690" y="361397"/>
                      <a:pt x="302068" y="393145"/>
                      <a:pt x="346145" y="393145"/>
                    </a:cubicBezTo>
                    <a:cubicBezTo>
                      <a:pt x="410526" y="393187"/>
                      <a:pt x="458940" y="336486"/>
                      <a:pt x="458940" y="271796"/>
                    </a:cubicBezTo>
                    <a:cubicBezTo>
                      <a:pt x="458940" y="192620"/>
                      <a:pt x="390896" y="127288"/>
                      <a:pt x="305321" y="127288"/>
                    </a:cubicBezTo>
                    <a:cubicBezTo>
                      <a:pt x="205925" y="127288"/>
                      <a:pt x="128351" y="212146"/>
                      <a:pt x="128351" y="312302"/>
                    </a:cubicBezTo>
                    <a:cubicBezTo>
                      <a:pt x="128351" y="425790"/>
                      <a:pt x="224288" y="520433"/>
                      <a:pt x="346191" y="520433"/>
                    </a:cubicBezTo>
                    <a:cubicBezTo>
                      <a:pt x="480933" y="520433"/>
                      <a:pt x="587325" y="407288"/>
                      <a:pt x="587325" y="271753"/>
                    </a:cubicBezTo>
                    <a:cubicBezTo>
                      <a:pt x="587325" y="126049"/>
                      <a:pt x="465012" y="0"/>
                      <a:pt x="305321" y="0"/>
                    </a:cubicBezTo>
                    <a:cubicBezTo>
                      <a:pt x="135427" y="0"/>
                      <a:pt x="0" y="141260"/>
                      <a:pt x="0" y="312302"/>
                    </a:cubicBezTo>
                    <a:cubicBezTo>
                      <a:pt x="0" y="494924"/>
                      <a:pt x="152033" y="647763"/>
                      <a:pt x="346191" y="647763"/>
                    </a:cubicBezTo>
                    <a:cubicBezTo>
                      <a:pt x="439059" y="647763"/>
                      <a:pt x="524257" y="612598"/>
                      <a:pt x="589265" y="554744"/>
                    </a:cubicBezTo>
                    <a:lnTo>
                      <a:pt x="540474" y="498428"/>
                    </a:lnTo>
                    <a:close/>
                  </a:path>
                </a:pathLst>
              </a:custGeom>
              <a:solidFill>
                <a:schemeClr val="tx2"/>
              </a:solidFill>
              <a:ln w="114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</p:grpSp>
      <p:pic>
        <p:nvPicPr>
          <p:cNvPr id="12" name="Graphic 11">
            <a:extLst>
              <a:ext uri="{FF2B5EF4-FFF2-40B4-BE49-F238E27FC236}">
                <a16:creationId xmlns:a16="http://schemas.microsoft.com/office/drawing/2014/main" id="{2BDE40CD-E9CC-6ACA-642C-D6978CF6E3E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92175" y="584708"/>
            <a:ext cx="3089275" cy="450519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B20108E0-801B-D244-D7CA-E6C54C005892}"/>
              </a:ext>
            </a:extLst>
          </p:cNvPr>
          <p:cNvSpPr/>
          <p:nvPr/>
        </p:nvSpPr>
        <p:spPr>
          <a:xfrm>
            <a:off x="22337486" y="12496800"/>
            <a:ext cx="1524000" cy="994952"/>
          </a:xfrm>
          <a:prstGeom prst="rect">
            <a:avLst/>
          </a:prstGeom>
          <a:solidFill>
            <a:srgbClr val="292B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l"/>
            <a:endParaRPr lang="en-GB" sz="32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58741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3EDAB40-79FE-C102-98DA-5114ED39E1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3308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EDAB40-79FE-C102-98DA-5114ED39E1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8" name="Group 97">
            <a:extLst>
              <a:ext uri="{FF2B5EF4-FFF2-40B4-BE49-F238E27FC236}">
                <a16:creationId xmlns:a16="http://schemas.microsoft.com/office/drawing/2014/main" id="{5A5E4441-9137-CAA9-0332-EDEF188ACF30}"/>
              </a:ext>
            </a:extLst>
          </p:cNvPr>
          <p:cNvGrpSpPr/>
          <p:nvPr/>
        </p:nvGrpSpPr>
        <p:grpSpPr>
          <a:xfrm>
            <a:off x="16046544" y="9995640"/>
            <a:ext cx="4251674" cy="2164681"/>
            <a:chOff x="9903165" y="9968598"/>
            <a:chExt cx="4251674" cy="2164681"/>
          </a:xfrm>
        </p:grpSpPr>
        <p:sp>
          <p:nvSpPr>
            <p:cNvPr id="94" name="Graphic 51">
              <a:extLst>
                <a:ext uri="{FF2B5EF4-FFF2-40B4-BE49-F238E27FC236}">
                  <a16:creationId xmlns:a16="http://schemas.microsoft.com/office/drawing/2014/main" id="{EE85FDA2-2B22-C32F-9590-F8B1F006FF1C}"/>
                </a:ext>
              </a:extLst>
            </p:cNvPr>
            <p:cNvSpPr/>
            <p:nvPr/>
          </p:nvSpPr>
          <p:spPr>
            <a:xfrm>
              <a:off x="13324503" y="11671614"/>
              <a:ext cx="481703" cy="461665"/>
            </a:xfrm>
            <a:custGeom>
              <a:avLst/>
              <a:gdLst>
                <a:gd name="connsiteX0" fmla="*/ 22 w 370210"/>
                <a:gd name="connsiteY0" fmla="*/ 189187 h 472965"/>
                <a:gd name="connsiteX1" fmla="*/ 231490 w 370210"/>
                <a:gd name="connsiteY1" fmla="*/ 472966 h 472965"/>
                <a:gd name="connsiteX2" fmla="*/ 232275 w 370210"/>
                <a:gd name="connsiteY2" fmla="*/ 173696 h 472965"/>
                <a:gd name="connsiteX3" fmla="*/ 370210 w 370210"/>
                <a:gd name="connsiteY3" fmla="*/ 0 h 472965"/>
                <a:gd name="connsiteX4" fmla="*/ 22 w 370210"/>
                <a:gd name="connsiteY4" fmla="*/ 189187 h 472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210" h="472965">
                  <a:moveTo>
                    <a:pt x="22" y="189187"/>
                  </a:moveTo>
                  <a:cubicBezTo>
                    <a:pt x="-2102" y="294130"/>
                    <a:pt x="153449" y="422098"/>
                    <a:pt x="231490" y="472966"/>
                  </a:cubicBezTo>
                  <a:cubicBezTo>
                    <a:pt x="132942" y="341392"/>
                    <a:pt x="190952" y="218630"/>
                    <a:pt x="232275" y="173696"/>
                  </a:cubicBezTo>
                  <a:lnTo>
                    <a:pt x="370210" y="0"/>
                  </a:lnTo>
                  <a:cubicBezTo>
                    <a:pt x="247699" y="19337"/>
                    <a:pt x="2145" y="84245"/>
                    <a:pt x="22" y="189187"/>
                  </a:cubicBezTo>
                  <a:close/>
                </a:path>
              </a:pathLst>
            </a:custGeom>
            <a:solidFill>
              <a:srgbClr val="5E9597"/>
            </a:solidFill>
            <a:ln w="9525" cap="flat">
              <a:noFill/>
              <a:prstDash val="solid"/>
              <a:miter/>
            </a:ln>
          </p:spPr>
          <p:txBody>
            <a:bodyPr rtlCol="0" anchor="ctr">
              <a:spAutoFit/>
            </a:bodyPr>
            <a:lstStyle/>
            <a:p>
              <a:endParaRPr lang="ru-RU" sz="2400">
                <a:solidFill>
                  <a:schemeClr val="bg1">
                    <a:alpha val="78000"/>
                  </a:schemeClr>
                </a:solidFill>
              </a:endParaRPr>
            </a:p>
          </p:txBody>
        </p:sp>
        <p:sp>
          <p:nvSpPr>
            <p:cNvPr id="95" name="Rectangle: Rounded Corners 94">
              <a:extLst>
                <a:ext uri="{FF2B5EF4-FFF2-40B4-BE49-F238E27FC236}">
                  <a16:creationId xmlns:a16="http://schemas.microsoft.com/office/drawing/2014/main" id="{45D4C468-9285-EF5C-1490-D5C417DA4438}"/>
                </a:ext>
              </a:extLst>
            </p:cNvPr>
            <p:cNvSpPr/>
            <p:nvPr/>
          </p:nvSpPr>
          <p:spPr>
            <a:xfrm>
              <a:off x="9903165" y="11134663"/>
              <a:ext cx="4047362" cy="723819"/>
            </a:xfrm>
            <a:prstGeom prst="roundRect">
              <a:avLst>
                <a:gd name="adj" fmla="val 50000"/>
              </a:avLst>
            </a:prstGeom>
            <a:solidFill>
              <a:srgbClr val="5E9497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72000" rIns="108000" bIns="72000" rtlCol="0" anchor="ctr" anchorCtr="0">
              <a:spAutoFit/>
            </a:bodyPr>
            <a:lstStyle/>
            <a:p>
              <a:pPr algn="ctr"/>
              <a:r>
                <a:rPr lang="ru-RU" sz="2400" dirty="0">
                  <a:ln w="0"/>
                  <a:solidFill>
                    <a:schemeClr val="bg1">
                      <a:alpha val="78000"/>
                    </a:schemeClr>
                  </a:solidFill>
                </a:rPr>
                <a:t>как доедешь – напиши</a:t>
              </a:r>
              <a:r>
                <a:rPr lang="en-US" sz="2400" dirty="0">
                  <a:ln w="0"/>
                  <a:solidFill>
                    <a:schemeClr val="bg1">
                      <a:alpha val="78000"/>
                    </a:schemeClr>
                  </a:solidFill>
                </a:rPr>
                <a:t> </a:t>
              </a:r>
              <a:endParaRPr lang="ru-RU" sz="2400" dirty="0">
                <a:ln w="0"/>
                <a:solidFill>
                  <a:schemeClr val="bg1">
                    <a:alpha val="78000"/>
                  </a:schemeClr>
                </a:solidFill>
              </a:endParaRPr>
            </a:p>
          </p:txBody>
        </p:sp>
        <p:sp>
          <p:nvSpPr>
            <p:cNvPr id="90" name="Graphic 51">
              <a:extLst>
                <a:ext uri="{FF2B5EF4-FFF2-40B4-BE49-F238E27FC236}">
                  <a16:creationId xmlns:a16="http://schemas.microsoft.com/office/drawing/2014/main" id="{376DEF24-EC45-F86B-C724-31FD1AF77392}"/>
                </a:ext>
              </a:extLst>
            </p:cNvPr>
            <p:cNvSpPr/>
            <p:nvPr/>
          </p:nvSpPr>
          <p:spPr>
            <a:xfrm>
              <a:off x="13481172" y="10567223"/>
              <a:ext cx="481703" cy="461665"/>
            </a:xfrm>
            <a:custGeom>
              <a:avLst/>
              <a:gdLst>
                <a:gd name="connsiteX0" fmla="*/ 22 w 370210"/>
                <a:gd name="connsiteY0" fmla="*/ 189187 h 472965"/>
                <a:gd name="connsiteX1" fmla="*/ 231490 w 370210"/>
                <a:gd name="connsiteY1" fmla="*/ 472966 h 472965"/>
                <a:gd name="connsiteX2" fmla="*/ 232275 w 370210"/>
                <a:gd name="connsiteY2" fmla="*/ 173696 h 472965"/>
                <a:gd name="connsiteX3" fmla="*/ 370210 w 370210"/>
                <a:gd name="connsiteY3" fmla="*/ 0 h 472965"/>
                <a:gd name="connsiteX4" fmla="*/ 22 w 370210"/>
                <a:gd name="connsiteY4" fmla="*/ 189187 h 472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210" h="472965">
                  <a:moveTo>
                    <a:pt x="22" y="189187"/>
                  </a:moveTo>
                  <a:cubicBezTo>
                    <a:pt x="-2102" y="294130"/>
                    <a:pt x="153449" y="422098"/>
                    <a:pt x="231490" y="472966"/>
                  </a:cubicBezTo>
                  <a:cubicBezTo>
                    <a:pt x="132942" y="341392"/>
                    <a:pt x="190952" y="218630"/>
                    <a:pt x="232275" y="173696"/>
                  </a:cubicBezTo>
                  <a:lnTo>
                    <a:pt x="370210" y="0"/>
                  </a:lnTo>
                  <a:cubicBezTo>
                    <a:pt x="247699" y="19337"/>
                    <a:pt x="2145" y="84245"/>
                    <a:pt x="22" y="189187"/>
                  </a:cubicBezTo>
                  <a:close/>
                </a:path>
              </a:pathLst>
            </a:custGeom>
            <a:solidFill>
              <a:srgbClr val="5E9597"/>
            </a:solidFill>
            <a:ln w="9525" cap="flat">
              <a:noFill/>
              <a:prstDash val="solid"/>
              <a:miter/>
            </a:ln>
          </p:spPr>
          <p:txBody>
            <a:bodyPr rtlCol="0" anchor="ctr">
              <a:spAutoFit/>
            </a:bodyPr>
            <a:lstStyle/>
            <a:p>
              <a:endParaRPr lang="ru-RU" sz="2400">
                <a:solidFill>
                  <a:schemeClr val="bg1">
                    <a:alpha val="78000"/>
                  </a:schemeClr>
                </a:solidFill>
              </a:endParaRPr>
            </a:p>
          </p:txBody>
        </p:sp>
        <p:sp>
          <p:nvSpPr>
            <p:cNvPr id="91" name="Rectangle: Rounded Corners 90">
              <a:extLst>
                <a:ext uri="{FF2B5EF4-FFF2-40B4-BE49-F238E27FC236}">
                  <a16:creationId xmlns:a16="http://schemas.microsoft.com/office/drawing/2014/main" id="{860B88F8-6828-11B1-F679-8EF057086583}"/>
                </a:ext>
              </a:extLst>
            </p:cNvPr>
            <p:cNvSpPr/>
            <p:nvPr/>
          </p:nvSpPr>
          <p:spPr>
            <a:xfrm>
              <a:off x="11560410" y="9968598"/>
              <a:ext cx="2594429" cy="723819"/>
            </a:xfrm>
            <a:prstGeom prst="roundRect">
              <a:avLst>
                <a:gd name="adj" fmla="val 50000"/>
              </a:avLst>
            </a:prstGeom>
            <a:solidFill>
              <a:srgbClr val="5E9497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72000" rIns="180000" bIns="72000" rtlCol="0" anchor="ctr" anchorCtr="0">
              <a:spAutoFit/>
            </a:bodyPr>
            <a:lstStyle/>
            <a:p>
              <a:pPr algn="ctr"/>
              <a:r>
                <a:rPr lang="en-US" sz="2400" dirty="0">
                  <a:ln w="0"/>
                  <a:solidFill>
                    <a:schemeClr val="bg1">
                      <a:alpha val="78000"/>
                    </a:schemeClr>
                  </a:solidFill>
                </a:rPr>
                <a:t>BMW </a:t>
              </a:r>
              <a:r>
                <a:rPr lang="ru-RU" sz="2400" dirty="0">
                  <a:ln w="0"/>
                  <a:solidFill>
                    <a:schemeClr val="bg1">
                      <a:alpha val="78000"/>
                    </a:schemeClr>
                  </a:solidFill>
                </a:rPr>
                <a:t>у входа</a:t>
              </a:r>
            </a:p>
          </p:txBody>
        </p:sp>
      </p:grpSp>
      <p:sp>
        <p:nvSpPr>
          <p:cNvPr id="4" name="Скругленный прямоугольник 12">
            <a:extLst>
              <a:ext uri="{FF2B5EF4-FFF2-40B4-BE49-F238E27FC236}">
                <a16:creationId xmlns:a16="http://schemas.microsoft.com/office/drawing/2014/main" id="{3998BFAC-7092-2A8C-7A18-D4719DD7CD6F}"/>
              </a:ext>
            </a:extLst>
          </p:cNvPr>
          <p:cNvSpPr/>
          <p:nvPr/>
        </p:nvSpPr>
        <p:spPr>
          <a:xfrm>
            <a:off x="827995" y="2960914"/>
            <a:ext cx="9259434" cy="4660703"/>
          </a:xfrm>
          <a:prstGeom prst="roundRect">
            <a:avLst>
              <a:gd name="adj" fmla="val 6964"/>
            </a:avLst>
          </a:prstGeom>
          <a:solidFill>
            <a:schemeClr val="accent3">
              <a:alpha val="21008"/>
            </a:schemeClr>
          </a:solidFill>
          <a:ln>
            <a:gradFill flip="none" rotWithShape="1">
              <a:gsLst>
                <a:gs pos="0">
                  <a:schemeClr val="bg2">
                    <a:alpha val="50000"/>
                  </a:schemeClr>
                </a:gs>
                <a:gs pos="100000">
                  <a:schemeClr val="bg1">
                    <a:alpha val="10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0E9E8DC-D22F-18FF-A498-1D84E0F8C3CF}"/>
              </a:ext>
            </a:extLst>
          </p:cNvPr>
          <p:cNvSpPr/>
          <p:nvPr/>
        </p:nvSpPr>
        <p:spPr>
          <a:xfrm>
            <a:off x="22337486" y="12496800"/>
            <a:ext cx="1524000" cy="994952"/>
          </a:xfrm>
          <a:prstGeom prst="rect">
            <a:avLst/>
          </a:prstGeom>
          <a:solidFill>
            <a:srgbClr val="292B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l"/>
            <a:endParaRPr lang="en-GB" sz="3200" dirty="0" err="1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4390266-B422-1E02-7F75-8DA22E8740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2606" y="1681842"/>
            <a:ext cx="22597200" cy="895502"/>
          </a:xfrm>
        </p:spPr>
        <p:txBody>
          <a:bodyPr vert="horz"/>
          <a:lstStyle/>
          <a:p>
            <a:r>
              <a:rPr lang="ru-RU" sz="7200" dirty="0"/>
              <a:t>забота &gt; цена</a:t>
            </a:r>
            <a:endParaRPr lang="en-GB" sz="7200" dirty="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6322729-D66A-76BA-3F65-799A684DD321}"/>
              </a:ext>
            </a:extLst>
          </p:cNvPr>
          <p:cNvGrpSpPr/>
          <p:nvPr/>
        </p:nvGrpSpPr>
        <p:grpSpPr>
          <a:xfrm>
            <a:off x="-6102498" y="-469796"/>
            <a:ext cx="3955166" cy="6094280"/>
            <a:chOff x="-4494122" y="3462172"/>
            <a:chExt cx="3955166" cy="6094280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A3D605A-75B4-C68B-FB44-31ACBF09FBD6}"/>
                </a:ext>
              </a:extLst>
            </p:cNvPr>
            <p:cNvSpPr txBox="1"/>
            <p:nvPr/>
          </p:nvSpPr>
          <p:spPr>
            <a:xfrm>
              <a:off x="-4494122" y="3462172"/>
              <a:ext cx="3955166" cy="172354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lvl="0" indent="0" defTabSz="1828619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Tx/>
                <a:buNone/>
                <a:defRPr sz="3200" b="0" i="0">
                  <a:latin typeface="YS Text Regular" pitchFamily="2" charset="0"/>
                  <a:cs typeface="YS Text Regular" pitchFamily="2" charset="0"/>
                </a:defRPr>
              </a:lvl1pPr>
              <a:lvl2pPr marL="36" marR="0" lvl="1" indent="0" defTabSz="1907905" fontAlgn="auto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bg2"/>
                </a:buClr>
                <a:buSzPct val="120000"/>
                <a:buFont typeface="Arial Unicode MS" panose="020B0604020202020204" pitchFamily="34" charset="-128"/>
                <a:buNone/>
                <a:tabLst/>
                <a:defRPr sz="3200" b="0" i="0" baseline="0">
                  <a:latin typeface="YS Text Regular" pitchFamily="2" charset="0"/>
                  <a:cs typeface="YS Text Regular" pitchFamily="2" charset="0"/>
                </a:defRPr>
              </a:lvl2pPr>
              <a:lvl3pPr marL="461237" marR="0" lvl="2" indent="-457200" defTabSz="1828619" fontAlgn="auto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sz="3200" b="0" i="0">
                  <a:latin typeface="YS Text Regular" pitchFamily="2" charset="0"/>
                  <a:cs typeface="YS Text Regular" pitchFamily="2" charset="0"/>
                </a:defRPr>
              </a:lvl3pPr>
              <a:lvl4pPr marL="1080000" lvl="3" indent="-457200" defTabSz="1828619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Font typeface="System Font Regular"/>
                <a:buChar char="−"/>
                <a:tabLst/>
                <a:defRPr sz="3200" b="0" i="0">
                  <a:latin typeface="YS Text Regular" pitchFamily="2" charset="0"/>
                  <a:cs typeface="YS Text Regular" pitchFamily="2" charset="0"/>
                </a:defRPr>
              </a:lvl4pPr>
              <a:lvl5pPr marL="0" lvl="4" indent="0" defTabSz="1828619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Tx/>
                <a:buNone/>
                <a:defRPr sz="3200" b="0" i="0" baseline="0">
                  <a:latin typeface="YS Text Regular" pitchFamily="2" charset="0"/>
                  <a:cs typeface="YS Text Regular" pitchFamily="2" charset="0"/>
                </a:defRPr>
              </a:lvl5pPr>
              <a:lvl6pPr marL="5028699" indent="-457155" defTabSz="1828619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</a:lvl6pPr>
              <a:lvl7pPr marL="5943007" indent="-457155" defTabSz="1828619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</a:lvl7pPr>
              <a:lvl8pPr marL="6857315" indent="-457155" defTabSz="1828619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</a:lvl8pPr>
              <a:lvl9pPr marL="7771623" indent="-457155" defTabSz="1828619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</a:lvl9pPr>
            </a:lstStyle>
            <a:p>
              <a:pPr lvl="2"/>
              <a:r>
                <a:rPr lang="ru-RU" sz="2800" dirty="0"/>
                <a:t>Его ресурсы стоят дороже сервисных сборов и цен на услуги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9F5158F2-5591-6B2A-43CC-F06EA42AC741}"/>
                </a:ext>
              </a:extLst>
            </p:cNvPr>
            <p:cNvSpPr txBox="1"/>
            <p:nvPr/>
          </p:nvSpPr>
          <p:spPr>
            <a:xfrm>
              <a:off x="-4494122" y="5725919"/>
              <a:ext cx="3955166" cy="1292662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lvl="0" indent="0" defTabSz="1828619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Tx/>
                <a:buNone/>
                <a:defRPr sz="3200" b="0" i="0">
                  <a:latin typeface="YS Text Regular" pitchFamily="2" charset="0"/>
                  <a:cs typeface="YS Text Regular" pitchFamily="2" charset="0"/>
                </a:defRPr>
              </a:lvl1pPr>
              <a:lvl2pPr marL="36" marR="0" lvl="1" indent="0" defTabSz="1907905" fontAlgn="auto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bg2"/>
                </a:buClr>
                <a:buSzPct val="120000"/>
                <a:buFont typeface="Arial Unicode MS" panose="020B0604020202020204" pitchFamily="34" charset="-128"/>
                <a:buNone/>
                <a:tabLst/>
                <a:defRPr sz="3200" b="0" i="0" baseline="0">
                  <a:latin typeface="YS Text Regular" pitchFamily="2" charset="0"/>
                  <a:cs typeface="YS Text Regular" pitchFamily="2" charset="0"/>
                </a:defRPr>
              </a:lvl2pPr>
              <a:lvl3pPr marL="461237" marR="0" lvl="2" indent="-457200" defTabSz="1828619" fontAlgn="auto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sz="3200" b="0" i="0">
                  <a:latin typeface="YS Text Regular" pitchFamily="2" charset="0"/>
                  <a:cs typeface="YS Text Regular" pitchFamily="2" charset="0"/>
                </a:defRPr>
              </a:lvl3pPr>
              <a:lvl4pPr marL="1080000" lvl="3" indent="-457200" defTabSz="1828619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Font typeface="System Font Regular"/>
                <a:buChar char="−"/>
                <a:tabLst/>
                <a:defRPr sz="3200" b="0" i="0">
                  <a:latin typeface="YS Text Regular" pitchFamily="2" charset="0"/>
                  <a:cs typeface="YS Text Regular" pitchFamily="2" charset="0"/>
                </a:defRPr>
              </a:lvl4pPr>
              <a:lvl5pPr marL="0" lvl="4" indent="0" defTabSz="1828619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Tx/>
                <a:buNone/>
                <a:defRPr sz="3200" b="0" i="0" baseline="0">
                  <a:latin typeface="YS Text Regular" pitchFamily="2" charset="0"/>
                  <a:cs typeface="YS Text Regular" pitchFamily="2" charset="0"/>
                </a:defRPr>
              </a:lvl5pPr>
              <a:lvl6pPr marL="5028699" indent="-457155" defTabSz="1828619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</a:lvl6pPr>
              <a:lvl7pPr marL="5943007" indent="-457155" defTabSz="1828619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</a:lvl7pPr>
              <a:lvl8pPr marL="6857315" indent="-457155" defTabSz="1828619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</a:lvl8pPr>
              <a:lvl9pPr marL="7771623" indent="-457155" defTabSz="1828619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</a:lvl9pPr>
            </a:lstStyle>
            <a:p>
              <a:pPr lvl="2"/>
              <a:r>
                <a:rPr lang="ru-RU" sz="2800" dirty="0"/>
                <a:t>Выбирает сервисы </a:t>
              </a:r>
              <a:r>
                <a:rPr lang="en-US" sz="2800" dirty="0"/>
                <a:t>Ultima, </a:t>
              </a:r>
              <a:r>
                <a:rPr lang="ru-RU" sz="2800" dirty="0"/>
                <a:t>чтобы обеспечить комфорт 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A410EEA-4F5E-7CE9-0047-73B64EB2030E}"/>
                </a:ext>
              </a:extLst>
            </p:cNvPr>
            <p:cNvSpPr txBox="1"/>
            <p:nvPr/>
          </p:nvSpPr>
          <p:spPr>
            <a:xfrm>
              <a:off x="-4494122" y="7402016"/>
              <a:ext cx="3955166" cy="2154436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lvl="0" indent="0" defTabSz="1828619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Tx/>
                <a:buNone/>
                <a:defRPr sz="3200" b="0" i="0">
                  <a:latin typeface="YS Text Regular" pitchFamily="2" charset="0"/>
                  <a:cs typeface="YS Text Regular" pitchFamily="2" charset="0"/>
                </a:defRPr>
              </a:lvl1pPr>
              <a:lvl2pPr marL="36" marR="0" lvl="1" indent="0" defTabSz="1907905" fontAlgn="auto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bg2"/>
                </a:buClr>
                <a:buSzPct val="120000"/>
                <a:buFont typeface="Arial Unicode MS" panose="020B0604020202020204" pitchFamily="34" charset="-128"/>
                <a:buNone/>
                <a:tabLst/>
                <a:defRPr sz="3200" b="0" i="0" baseline="0">
                  <a:latin typeface="YS Text Regular" pitchFamily="2" charset="0"/>
                  <a:cs typeface="YS Text Regular" pitchFamily="2" charset="0"/>
                </a:defRPr>
              </a:lvl2pPr>
              <a:lvl3pPr marL="461237" marR="0" lvl="2" indent="-457200" defTabSz="1828619" fontAlgn="auto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sz="3200" b="0" i="0">
                  <a:latin typeface="YS Text Regular" pitchFamily="2" charset="0"/>
                  <a:cs typeface="YS Text Regular" pitchFamily="2" charset="0"/>
                </a:defRPr>
              </a:lvl3pPr>
              <a:lvl4pPr marL="1080000" lvl="3" indent="-457200" defTabSz="1828619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Font typeface="System Font Regular"/>
                <a:buChar char="−"/>
                <a:tabLst/>
                <a:defRPr sz="3200" b="0" i="0">
                  <a:latin typeface="YS Text Regular" pitchFamily="2" charset="0"/>
                  <a:cs typeface="YS Text Regular" pitchFamily="2" charset="0"/>
                </a:defRPr>
              </a:lvl4pPr>
              <a:lvl5pPr marL="0" lvl="4" indent="0" defTabSz="1828619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Tx/>
                <a:buNone/>
                <a:defRPr sz="3200" b="0" i="0" baseline="0">
                  <a:latin typeface="YS Text Regular" pitchFamily="2" charset="0"/>
                  <a:cs typeface="YS Text Regular" pitchFamily="2" charset="0"/>
                </a:defRPr>
              </a:lvl5pPr>
              <a:lvl6pPr marL="5028699" indent="-457155" defTabSz="1828619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</a:lvl6pPr>
              <a:lvl7pPr marL="5943007" indent="-457155" defTabSz="1828619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</a:lvl7pPr>
              <a:lvl8pPr marL="6857315" indent="-457155" defTabSz="1828619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</a:lvl8pPr>
              <a:lvl9pPr marL="7771623" indent="-457155" defTabSz="1828619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</a:lvl9pPr>
            </a:lstStyle>
            <a:p>
              <a:pPr lvl="2"/>
              <a:r>
                <a:rPr lang="ru-RU" sz="2800" dirty="0"/>
                <a:t>Заказывает доставку еды, потому что его час готовки/уборки стоит дороже</a:t>
              </a:r>
            </a:p>
          </p:txBody>
        </p:sp>
      </p:grpSp>
      <p:pic>
        <p:nvPicPr>
          <p:cNvPr id="11" name="Graphic 10">
            <a:extLst>
              <a:ext uri="{FF2B5EF4-FFF2-40B4-BE49-F238E27FC236}">
                <a16:creationId xmlns:a16="http://schemas.microsoft.com/office/drawing/2014/main" id="{AB915FCE-2D8C-41B7-DE42-E0B2BC90235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92175" y="584708"/>
            <a:ext cx="3089275" cy="450519"/>
          </a:xfrm>
          <a:prstGeom prst="rect">
            <a:avLst/>
          </a:prstGeom>
        </p:spPr>
      </p:pic>
      <p:pic>
        <p:nvPicPr>
          <p:cNvPr id="13" name="Picture 81">
            <a:extLst>
              <a:ext uri="{FF2B5EF4-FFF2-40B4-BE49-F238E27FC236}">
                <a16:creationId xmlns:a16="http://schemas.microsoft.com/office/drawing/2014/main" id="{100564B9-E2E8-4F35-853F-1E86953AE9E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4" t="15418" r="46061" b="28100"/>
          <a:stretch/>
        </p:blipFill>
        <p:spPr>
          <a:xfrm>
            <a:off x="12905978" y="-1"/>
            <a:ext cx="11476435" cy="13716001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E641D219-520F-4B1E-43A6-6595530A728F}"/>
              </a:ext>
            </a:extLst>
          </p:cNvPr>
          <p:cNvSpPr txBox="1">
            <a:spLocks/>
          </p:cNvSpPr>
          <p:nvPr/>
        </p:nvSpPr>
        <p:spPr>
          <a:xfrm>
            <a:off x="1352631" y="5774187"/>
            <a:ext cx="5119775" cy="1163395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>
              <a:lnSpc>
                <a:spcPct val="90000"/>
              </a:lnSpc>
              <a:buClr>
                <a:srgbClr val="000000"/>
              </a:buClr>
            </a:pPr>
            <a:r>
              <a:rPr lang="ru-RU" sz="2800" dirty="0">
                <a:solidFill>
                  <a:schemeClr val="accent3">
                    <a:lumMod val="60000"/>
                    <a:lumOff val="40000"/>
                    <a:alpha val="85749"/>
                  </a:schemeClr>
                </a:solidFill>
                <a:cs typeface="YS Geo Medium" pitchFamily="34" charset="-120"/>
                <a:sym typeface="Arial"/>
              </a:rPr>
              <a:t>пользователей выбирают тарифы </a:t>
            </a:r>
            <a:r>
              <a:rPr lang="ru-RU" sz="2800" dirty="0" err="1">
                <a:solidFill>
                  <a:schemeClr val="accent3">
                    <a:lumMod val="60000"/>
                    <a:lumOff val="40000"/>
                    <a:alpha val="85749"/>
                  </a:schemeClr>
                </a:solidFill>
                <a:cs typeface="YS Geo Medium" pitchFamily="34" charset="-120"/>
                <a:sym typeface="Arial"/>
              </a:rPr>
              <a:t>Ultima</a:t>
            </a:r>
            <a:r>
              <a:rPr lang="ru-RU" sz="2800" dirty="0">
                <a:solidFill>
                  <a:schemeClr val="accent3">
                    <a:lumMod val="60000"/>
                    <a:lumOff val="40000"/>
                    <a:alpha val="85749"/>
                  </a:schemeClr>
                </a:solidFill>
                <a:cs typeface="YS Geo Medium" pitchFamily="34" charset="-120"/>
                <a:sym typeface="Arial"/>
              </a:rPr>
              <a:t> за качественный сервис, а не премиальность</a:t>
            </a:r>
          </a:p>
        </p:txBody>
      </p:sp>
      <p:sp>
        <p:nvSpPr>
          <p:cNvPr id="26" name="Text Placeholder 29">
            <a:extLst>
              <a:ext uri="{FF2B5EF4-FFF2-40B4-BE49-F238E27FC236}">
                <a16:creationId xmlns:a16="http://schemas.microsoft.com/office/drawing/2014/main" id="{590278BE-041C-C352-28BB-413DE84E092A}"/>
              </a:ext>
            </a:extLst>
          </p:cNvPr>
          <p:cNvSpPr txBox="1">
            <a:spLocks/>
          </p:cNvSpPr>
          <p:nvPr/>
        </p:nvSpPr>
        <p:spPr>
          <a:xfrm>
            <a:off x="1342345" y="3863996"/>
            <a:ext cx="4230325" cy="191533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1pPr>
            <a:lvl2pPr marL="36" marR="0" indent="0" algn="l" defTabSz="1907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lang="en-GB" sz="3200" b="0" i="0" kern="1200" baseline="0">
                <a:solidFill>
                  <a:schemeClr val="tx1"/>
                </a:solidFill>
                <a:latin typeface="Yango Text Medium" panose="020B0504020202020204" pitchFamily="34" charset="-79"/>
                <a:ea typeface="Yango Text Medium" panose="020B0504020202020204" pitchFamily="34" charset="-79"/>
                <a:cs typeface="Yango Text Medium" panose="020B0504020202020204" pitchFamily="34" charset="-79"/>
              </a:defRPr>
            </a:lvl2pPr>
            <a:lvl3pPr marL="360000" marR="0" indent="-360000" algn="l" defTabSz="18286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tabLst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3pPr>
            <a:lvl4pPr marL="720000" indent="-36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System Font Regular"/>
              <a:buChar char="−"/>
              <a:tabLst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Tx/>
              <a:buNone/>
              <a:defRPr sz="2400" b="0" i="0" kern="1200" baseline="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" marR="0" lvl="1" indent="0" algn="l" defTabSz="1907905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Clr>
                <a:srgbClr val="FFFFFF"/>
              </a:buClr>
              <a:buSzPct val="120000"/>
              <a:buFont typeface="Arial Unicode MS" panose="020B0604020202020204" pitchFamily="34" charset="-128"/>
              <a:buNone/>
              <a:tabLst/>
              <a:defRPr/>
            </a:pPr>
            <a:r>
              <a:rPr lang="ru-RU" sz="15400" dirty="0">
                <a:gradFill>
                  <a:gsLst>
                    <a:gs pos="100000">
                      <a:srgbClr val="7E8597"/>
                    </a:gs>
                    <a:gs pos="0">
                      <a:srgbClr val="FFFFFF"/>
                    </a:gs>
                  </a:gsLst>
                  <a:lin ang="10800000" scaled="1"/>
                </a:gradFill>
                <a:latin typeface="YS Geo Medium"/>
                <a:cs typeface="YS Text Bold" pitchFamily="2" charset="77"/>
              </a:rPr>
              <a:t>42% </a:t>
            </a:r>
            <a:endParaRPr kumimoji="0" lang="ru-RU" sz="15400" b="0" i="0" u="none" strike="noStrike" kern="1200" cap="none" spc="0" normalizeH="0" baseline="0" noProof="0" dirty="0">
              <a:ln>
                <a:noFill/>
              </a:ln>
              <a:gradFill>
                <a:gsLst>
                  <a:gs pos="100000">
                    <a:srgbClr val="7E8597"/>
                  </a:gs>
                  <a:gs pos="0">
                    <a:srgbClr val="FFFFFF"/>
                  </a:gs>
                </a:gsLst>
                <a:lin ang="10800000" scaled="1"/>
              </a:gradFill>
              <a:effectLst/>
              <a:uLnTx/>
              <a:uFillTx/>
              <a:latin typeface="YS Geo Medium"/>
              <a:ea typeface="Yango Text" panose="020B0504020202020204" pitchFamily="34" charset="-79"/>
              <a:cs typeface="YS Text Bold" pitchFamily="2" charset="77"/>
            </a:endParaRPr>
          </a:p>
        </p:txBody>
      </p:sp>
      <p:sp>
        <p:nvSpPr>
          <p:cNvPr id="29" name="Скругленный прямоугольник 12">
            <a:extLst>
              <a:ext uri="{FF2B5EF4-FFF2-40B4-BE49-F238E27FC236}">
                <a16:creationId xmlns:a16="http://schemas.microsoft.com/office/drawing/2014/main" id="{80983F76-FE54-B848-A047-7E97E66BC0BD}"/>
              </a:ext>
            </a:extLst>
          </p:cNvPr>
          <p:cNvSpPr/>
          <p:nvPr/>
        </p:nvSpPr>
        <p:spPr>
          <a:xfrm>
            <a:off x="827995" y="7953828"/>
            <a:ext cx="9259434" cy="4660703"/>
          </a:xfrm>
          <a:prstGeom prst="roundRect">
            <a:avLst>
              <a:gd name="adj" fmla="val 6964"/>
            </a:avLst>
          </a:prstGeom>
          <a:solidFill>
            <a:schemeClr val="accent3">
              <a:alpha val="21008"/>
            </a:schemeClr>
          </a:solidFill>
          <a:ln>
            <a:gradFill flip="none" rotWithShape="1">
              <a:gsLst>
                <a:gs pos="0">
                  <a:schemeClr val="bg2">
                    <a:alpha val="50000"/>
                  </a:schemeClr>
                </a:gs>
                <a:gs pos="100000">
                  <a:schemeClr val="bg1">
                    <a:alpha val="10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/>
          </a:p>
        </p:txBody>
      </p:sp>
      <p:grpSp>
        <p:nvGrpSpPr>
          <p:cNvPr id="97" name="Group 96">
            <a:extLst>
              <a:ext uri="{FF2B5EF4-FFF2-40B4-BE49-F238E27FC236}">
                <a16:creationId xmlns:a16="http://schemas.microsoft.com/office/drawing/2014/main" id="{2A39E39A-B0DE-3F3D-B236-1BEFFF4CE081}"/>
              </a:ext>
            </a:extLst>
          </p:cNvPr>
          <p:cNvGrpSpPr/>
          <p:nvPr/>
        </p:nvGrpSpPr>
        <p:grpSpPr>
          <a:xfrm>
            <a:off x="10416722" y="2960914"/>
            <a:ext cx="7539578" cy="9653617"/>
            <a:chOff x="9574893" y="4162287"/>
            <a:chExt cx="6207636" cy="8800587"/>
          </a:xfrm>
        </p:grpSpPr>
        <p:sp>
          <p:nvSpPr>
            <p:cNvPr id="15" name="Скругленный прямоугольник 12">
              <a:extLst>
                <a:ext uri="{FF2B5EF4-FFF2-40B4-BE49-F238E27FC236}">
                  <a16:creationId xmlns:a16="http://schemas.microsoft.com/office/drawing/2014/main" id="{20A972D1-1539-A21B-FF92-23AA702210A5}"/>
                </a:ext>
              </a:extLst>
            </p:cNvPr>
            <p:cNvSpPr>
              <a:spLocks/>
            </p:cNvSpPr>
            <p:nvPr/>
          </p:nvSpPr>
          <p:spPr>
            <a:xfrm>
              <a:off x="9574893" y="4162287"/>
              <a:ext cx="6207636" cy="8800587"/>
            </a:xfrm>
            <a:prstGeom prst="roundRect">
              <a:avLst>
                <a:gd name="adj" fmla="val 6964"/>
              </a:avLst>
            </a:prstGeom>
            <a:solidFill>
              <a:schemeClr val="accent3">
                <a:alpha val="21008"/>
              </a:schemeClr>
            </a:solidFill>
            <a:ln>
              <a:gradFill flip="none" rotWithShape="1">
                <a:gsLst>
                  <a:gs pos="0">
                    <a:schemeClr val="bg2">
                      <a:alpha val="50000"/>
                    </a:schemeClr>
                  </a:gs>
                  <a:gs pos="100000">
                    <a:schemeClr val="bg1">
                      <a:alpha val="10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ru-RU" dirty="0" err="1"/>
            </a:p>
          </p:txBody>
        </p:sp>
        <p:sp>
          <p:nvSpPr>
            <p:cNvPr id="35" name="Скругленный прямоугольник 12">
              <a:extLst>
                <a:ext uri="{FF2B5EF4-FFF2-40B4-BE49-F238E27FC236}">
                  <a16:creationId xmlns:a16="http://schemas.microsoft.com/office/drawing/2014/main" id="{FFD6A7E6-67E5-73C4-B0C0-A268C0C1BA6E}"/>
                </a:ext>
              </a:extLst>
            </p:cNvPr>
            <p:cNvSpPr>
              <a:spLocks/>
            </p:cNvSpPr>
            <p:nvPr/>
          </p:nvSpPr>
          <p:spPr>
            <a:xfrm>
              <a:off x="9574893" y="4162287"/>
              <a:ext cx="6207636" cy="8800587"/>
            </a:xfrm>
            <a:prstGeom prst="roundRect">
              <a:avLst>
                <a:gd name="adj" fmla="val 6964"/>
              </a:avLst>
            </a:prstGeom>
            <a:gradFill flip="none" rotWithShape="1">
              <a:gsLst>
                <a:gs pos="0">
                  <a:schemeClr val="accent1"/>
                </a:gs>
                <a:gs pos="99000">
                  <a:schemeClr val="accent1">
                    <a:alpha val="0"/>
                  </a:schemeClr>
                </a:gs>
              </a:gsLst>
              <a:lin ang="16200000" scaled="1"/>
              <a:tileRect/>
            </a:gradFill>
            <a:ln>
              <a:gradFill flip="none" rotWithShape="1">
                <a:gsLst>
                  <a:gs pos="0">
                    <a:schemeClr val="bg2">
                      <a:alpha val="50000"/>
                    </a:schemeClr>
                  </a:gs>
                  <a:gs pos="100000">
                    <a:schemeClr val="bg1">
                      <a:alpha val="10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ru-RU" dirty="0" err="1"/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B579D93A-99EB-6397-643D-5156ADFA735B}"/>
              </a:ext>
            </a:extLst>
          </p:cNvPr>
          <p:cNvSpPr txBox="1">
            <a:spLocks/>
          </p:cNvSpPr>
          <p:nvPr/>
        </p:nvSpPr>
        <p:spPr>
          <a:xfrm>
            <a:off x="1352632" y="10893486"/>
            <a:ext cx="5119775" cy="116339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  <a:buClr>
                <a:srgbClr val="000000"/>
              </a:buClr>
            </a:pPr>
            <a:r>
              <a:rPr lang="ru-RU" sz="2800" dirty="0">
                <a:solidFill>
                  <a:schemeClr val="accent3">
                    <a:lumMod val="60000"/>
                    <a:lumOff val="40000"/>
                    <a:alpha val="85749"/>
                  </a:schemeClr>
                </a:solidFill>
                <a:cs typeface="YS Geo Medium" pitchFamily="34" charset="-120"/>
                <a:sym typeface="Arial"/>
              </a:rPr>
              <a:t>рост количества застрахованных </a:t>
            </a:r>
            <a:br>
              <a:rPr lang="ru-RU" sz="2800" dirty="0">
                <a:solidFill>
                  <a:schemeClr val="accent3">
                    <a:lumMod val="60000"/>
                    <a:lumOff val="40000"/>
                    <a:alpha val="85749"/>
                  </a:schemeClr>
                </a:solidFill>
                <a:cs typeface="YS Geo Medium" pitchFamily="34" charset="-120"/>
                <a:sym typeface="Arial"/>
              </a:rPr>
            </a:br>
            <a:r>
              <a:rPr lang="ru-RU" sz="2800" dirty="0">
                <a:solidFill>
                  <a:schemeClr val="accent3">
                    <a:lumMod val="60000"/>
                    <a:lumOff val="40000"/>
                    <a:alpha val="85749"/>
                  </a:schemeClr>
                </a:solidFill>
                <a:cs typeface="YS Geo Medium" pitchFamily="34" charset="-120"/>
                <a:sym typeface="Arial"/>
              </a:rPr>
              <a:t>доставок с 2025 по 2026</a:t>
            </a:r>
          </a:p>
        </p:txBody>
      </p:sp>
      <p:sp>
        <p:nvSpPr>
          <p:cNvPr id="31" name="Text Placeholder 29">
            <a:extLst>
              <a:ext uri="{FF2B5EF4-FFF2-40B4-BE49-F238E27FC236}">
                <a16:creationId xmlns:a16="http://schemas.microsoft.com/office/drawing/2014/main" id="{0F866B85-F88E-6F0A-366D-8DA8571F6AAD}"/>
              </a:ext>
            </a:extLst>
          </p:cNvPr>
          <p:cNvSpPr txBox="1">
            <a:spLocks/>
          </p:cNvSpPr>
          <p:nvPr/>
        </p:nvSpPr>
        <p:spPr>
          <a:xfrm>
            <a:off x="1342345" y="8964119"/>
            <a:ext cx="2442976" cy="191533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1pPr>
            <a:lvl2pPr marL="36" marR="0" indent="0" algn="l" defTabSz="1907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lang="en-GB" sz="3200" b="0" i="0" kern="1200" baseline="0">
                <a:solidFill>
                  <a:schemeClr val="tx1"/>
                </a:solidFill>
                <a:latin typeface="Yango Text Medium" panose="020B0504020202020204" pitchFamily="34" charset="-79"/>
                <a:ea typeface="Yango Text Medium" panose="020B0504020202020204" pitchFamily="34" charset="-79"/>
                <a:cs typeface="Yango Text Medium" panose="020B0504020202020204" pitchFamily="34" charset="-79"/>
              </a:defRPr>
            </a:lvl2pPr>
            <a:lvl3pPr marL="360000" marR="0" indent="-360000" algn="l" defTabSz="18286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tabLst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3pPr>
            <a:lvl4pPr marL="720000" indent="-36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System Font Regular"/>
              <a:buChar char="−"/>
              <a:tabLst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Tx/>
              <a:buNone/>
              <a:defRPr sz="2400" b="0" i="0" kern="1200" baseline="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" marR="0" lvl="1" indent="0" algn="l" defTabSz="1907905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Clr>
                <a:srgbClr val="FFFFFF"/>
              </a:buClr>
              <a:buSzPct val="120000"/>
              <a:buFont typeface="Arial Unicode MS" panose="020B0604020202020204" pitchFamily="34" charset="-128"/>
              <a:buNone/>
              <a:tabLst/>
              <a:defRPr/>
            </a:pPr>
            <a:r>
              <a:rPr lang="ru-RU" sz="15400" dirty="0">
                <a:gradFill>
                  <a:gsLst>
                    <a:gs pos="100000">
                      <a:srgbClr val="7E8597"/>
                    </a:gs>
                    <a:gs pos="0">
                      <a:srgbClr val="FFFFFF"/>
                    </a:gs>
                  </a:gsLst>
                  <a:lin ang="10800000" scaled="1"/>
                </a:gradFill>
                <a:latin typeface="YS Geo Medium"/>
                <a:cs typeface="YS Text Bold" pitchFamily="2" charset="77"/>
              </a:rPr>
              <a:t>х3 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8E8FE12-9111-9695-0664-250DA1DE2C71}"/>
              </a:ext>
            </a:extLst>
          </p:cNvPr>
          <p:cNvSpPr txBox="1">
            <a:spLocks/>
          </p:cNvSpPr>
          <p:nvPr/>
        </p:nvSpPr>
        <p:spPr>
          <a:xfrm>
            <a:off x="11114712" y="4275707"/>
            <a:ext cx="6380743" cy="276998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3600" dirty="0">
                <a:solidFill>
                  <a:schemeClr val="bg1"/>
                </a:solidFill>
                <a:latin typeface="+mj-lt"/>
              </a:rPr>
              <a:t>финансовый </a:t>
            </a:r>
            <a:br>
              <a:rPr lang="ru-RU" sz="3600" dirty="0">
                <a:solidFill>
                  <a:schemeClr val="bg1"/>
                </a:solidFill>
                <a:latin typeface="+mj-lt"/>
              </a:rPr>
            </a:br>
            <a:r>
              <a:rPr lang="ru-RU" sz="3600" dirty="0">
                <a:solidFill>
                  <a:schemeClr val="bg1"/>
                </a:solidFill>
                <a:latin typeface="+mj-lt"/>
              </a:rPr>
              <a:t>фактор становится второстепенным </a:t>
            </a:r>
            <a:br>
              <a:rPr lang="ru-RU" sz="3600" dirty="0">
                <a:solidFill>
                  <a:schemeClr val="bg1"/>
                </a:solidFill>
                <a:latin typeface="+mj-lt"/>
              </a:rPr>
            </a:br>
            <a:r>
              <a:rPr lang="ru-RU" sz="3600" dirty="0">
                <a:solidFill>
                  <a:schemeClr val="bg1"/>
                </a:solidFill>
                <a:latin typeface="+mj-lt"/>
              </a:rPr>
              <a:t>при заказе такси </a:t>
            </a:r>
            <a:br>
              <a:rPr lang="ru-RU" sz="3600" dirty="0">
                <a:solidFill>
                  <a:schemeClr val="bg1"/>
                </a:solidFill>
                <a:latin typeface="+mj-lt"/>
              </a:rPr>
            </a:br>
            <a:r>
              <a:rPr lang="ru-RU" sz="3600" dirty="0">
                <a:solidFill>
                  <a:schemeClr val="bg1"/>
                </a:solidFill>
                <a:latin typeface="+mj-lt"/>
              </a:rPr>
              <a:t>для кого-то</a:t>
            </a:r>
            <a:endParaRPr lang="en-GB" sz="3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D0B2D2D-7F12-1B48-A74C-FD2D25304305}"/>
              </a:ext>
            </a:extLst>
          </p:cNvPr>
          <p:cNvSpPr txBox="1">
            <a:spLocks/>
          </p:cNvSpPr>
          <p:nvPr/>
        </p:nvSpPr>
        <p:spPr>
          <a:xfrm>
            <a:off x="11114711" y="7531843"/>
            <a:ext cx="6380743" cy="1163395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>
              <a:lnSpc>
                <a:spcPct val="90000"/>
              </a:lnSpc>
              <a:buClr>
                <a:srgbClr val="000000"/>
              </a:buClr>
            </a:pPr>
            <a:r>
              <a:rPr lang="ru-RU" sz="2800" dirty="0">
                <a:solidFill>
                  <a:schemeClr val="bg1">
                    <a:alpha val="85749"/>
                  </a:schemeClr>
                </a:solidFill>
                <a:cs typeface="YS Geo Medium" pitchFamily="34" charset="-120"/>
                <a:sym typeface="Arial"/>
              </a:rPr>
              <a:t>аудитория не экономит </a:t>
            </a:r>
            <a:br>
              <a:rPr lang="ru-RU" sz="2800" dirty="0">
                <a:solidFill>
                  <a:schemeClr val="bg1">
                    <a:alpha val="85749"/>
                  </a:schemeClr>
                </a:solidFill>
                <a:cs typeface="YS Geo Medium" pitchFamily="34" charset="-120"/>
                <a:sym typeface="Arial"/>
              </a:rPr>
            </a:br>
            <a:r>
              <a:rPr lang="ru-RU" sz="2800" dirty="0">
                <a:solidFill>
                  <a:schemeClr val="bg1">
                    <a:alpha val="85749"/>
                  </a:schemeClr>
                </a:solidFill>
                <a:cs typeface="YS Geo Medium" pitchFamily="34" charset="-120"/>
                <a:sym typeface="Arial"/>
              </a:rPr>
              <a:t>на жестах уважения </a:t>
            </a:r>
            <a:br>
              <a:rPr lang="ru-RU" sz="2800" dirty="0">
                <a:solidFill>
                  <a:schemeClr val="bg1">
                    <a:alpha val="85749"/>
                  </a:schemeClr>
                </a:solidFill>
                <a:cs typeface="YS Geo Medium" pitchFamily="34" charset="-120"/>
                <a:sym typeface="Arial"/>
              </a:rPr>
            </a:br>
            <a:r>
              <a:rPr lang="ru-RU" sz="2800" dirty="0">
                <a:solidFill>
                  <a:schemeClr val="bg1">
                    <a:alpha val="85749"/>
                  </a:schemeClr>
                </a:solidFill>
                <a:cs typeface="YS Geo Medium" pitchFamily="34" charset="-120"/>
                <a:sym typeface="Arial"/>
              </a:rPr>
              <a:t>и заботы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E19DB76-EF7E-485B-E5B6-012626C9263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flipH="1">
            <a:off x="14578236" y="-176249"/>
            <a:ext cx="10012231" cy="13892249"/>
          </a:xfrm>
          <a:prstGeom prst="rect">
            <a:avLst/>
          </a:prstGeom>
        </p:spPr>
      </p:pic>
      <p:grpSp>
        <p:nvGrpSpPr>
          <p:cNvPr id="100" name="Group 99">
            <a:extLst>
              <a:ext uri="{FF2B5EF4-FFF2-40B4-BE49-F238E27FC236}">
                <a16:creationId xmlns:a16="http://schemas.microsoft.com/office/drawing/2014/main" id="{282B9BC8-B617-63A3-E0CC-2A5DFAA76C07}"/>
              </a:ext>
            </a:extLst>
          </p:cNvPr>
          <p:cNvGrpSpPr/>
          <p:nvPr/>
        </p:nvGrpSpPr>
        <p:grpSpPr>
          <a:xfrm>
            <a:off x="6602329" y="4331424"/>
            <a:ext cx="3485100" cy="2391474"/>
            <a:chOff x="5804043" y="4679767"/>
            <a:chExt cx="3485100" cy="2391474"/>
          </a:xfrm>
        </p:grpSpPr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E0F0FF3F-7146-2423-9BE6-B74918FD48C9}"/>
                </a:ext>
              </a:extLst>
            </p:cNvPr>
            <p:cNvSpPr/>
            <p:nvPr/>
          </p:nvSpPr>
          <p:spPr>
            <a:xfrm>
              <a:off x="5804043" y="4679767"/>
              <a:ext cx="3485100" cy="1224190"/>
            </a:xfrm>
            <a:custGeom>
              <a:avLst/>
              <a:gdLst>
                <a:gd name="connsiteX0" fmla="*/ 612095 w 3485100"/>
                <a:gd name="connsiteY0" fmla="*/ 0 h 1224190"/>
                <a:gd name="connsiteX1" fmla="*/ 3117589 w 3485100"/>
                <a:gd name="connsiteY1" fmla="*/ 0 h 1224190"/>
                <a:gd name="connsiteX2" fmla="*/ 3459817 w 3485100"/>
                <a:gd name="connsiteY2" fmla="*/ 104536 h 1224190"/>
                <a:gd name="connsiteX3" fmla="*/ 3485100 w 3485100"/>
                <a:gd name="connsiteY3" fmla="*/ 125397 h 1224190"/>
                <a:gd name="connsiteX4" fmla="*/ 3485100 w 3485100"/>
                <a:gd name="connsiteY4" fmla="*/ 1098794 h 1224190"/>
                <a:gd name="connsiteX5" fmla="*/ 3459817 w 3485100"/>
                <a:gd name="connsiteY5" fmla="*/ 1119654 h 1224190"/>
                <a:gd name="connsiteX6" fmla="*/ 3117589 w 3485100"/>
                <a:gd name="connsiteY6" fmla="*/ 1224190 h 1224190"/>
                <a:gd name="connsiteX7" fmla="*/ 612095 w 3485100"/>
                <a:gd name="connsiteY7" fmla="*/ 1224190 h 1224190"/>
                <a:gd name="connsiteX8" fmla="*/ 0 w 3485100"/>
                <a:gd name="connsiteY8" fmla="*/ 612095 h 1224190"/>
                <a:gd name="connsiteX9" fmla="*/ 612095 w 3485100"/>
                <a:gd name="connsiteY9" fmla="*/ 0 h 1224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485100" h="1224190">
                  <a:moveTo>
                    <a:pt x="612095" y="0"/>
                  </a:moveTo>
                  <a:lnTo>
                    <a:pt x="3117589" y="0"/>
                  </a:lnTo>
                  <a:cubicBezTo>
                    <a:pt x="3244358" y="0"/>
                    <a:pt x="3362126" y="38538"/>
                    <a:pt x="3459817" y="104536"/>
                  </a:cubicBezTo>
                  <a:lnTo>
                    <a:pt x="3485100" y="125397"/>
                  </a:lnTo>
                  <a:lnTo>
                    <a:pt x="3485100" y="1098794"/>
                  </a:lnTo>
                  <a:lnTo>
                    <a:pt x="3459817" y="1119654"/>
                  </a:lnTo>
                  <a:cubicBezTo>
                    <a:pt x="3362126" y="1185653"/>
                    <a:pt x="3244358" y="1224190"/>
                    <a:pt x="3117589" y="1224190"/>
                  </a:cubicBezTo>
                  <a:lnTo>
                    <a:pt x="612095" y="1224190"/>
                  </a:lnTo>
                  <a:cubicBezTo>
                    <a:pt x="274044" y="1224190"/>
                    <a:pt x="0" y="950146"/>
                    <a:pt x="0" y="612095"/>
                  </a:cubicBezTo>
                  <a:cubicBezTo>
                    <a:pt x="0" y="274044"/>
                    <a:pt x="274044" y="0"/>
                    <a:pt x="61209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gradFill flip="none" rotWithShape="1">
                <a:gsLst>
                  <a:gs pos="0">
                    <a:schemeClr val="bg2">
                      <a:alpha val="50000"/>
                    </a:schemeClr>
                  </a:gs>
                  <a:gs pos="100000">
                    <a:schemeClr val="bg1">
                      <a:alpha val="10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800" dirty="0"/>
            </a:p>
          </p:txBody>
        </p: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027299F2-FC4D-75E8-1907-B8AA8E8637E3}"/>
                </a:ext>
              </a:extLst>
            </p:cNvPr>
            <p:cNvGrpSpPr/>
            <p:nvPr/>
          </p:nvGrpSpPr>
          <p:grpSpPr>
            <a:xfrm>
              <a:off x="6243806" y="5060207"/>
              <a:ext cx="2850158" cy="426091"/>
              <a:chOff x="19337963" y="3865656"/>
              <a:chExt cx="2621696" cy="391936"/>
            </a:xfrm>
          </p:grpSpPr>
          <p:pic>
            <p:nvPicPr>
              <p:cNvPr id="69" name="Graphic 68">
                <a:extLst>
                  <a:ext uri="{FF2B5EF4-FFF2-40B4-BE49-F238E27FC236}">
                    <a16:creationId xmlns:a16="http://schemas.microsoft.com/office/drawing/2014/main" id="{D1F9FC5F-7252-7586-F4B2-FBCFCE94D13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19337963" y="3865656"/>
                <a:ext cx="407986" cy="391936"/>
              </a:xfrm>
              <a:prstGeom prst="rect">
                <a:avLst/>
              </a:prstGeom>
            </p:spPr>
          </p:pic>
          <p:pic>
            <p:nvPicPr>
              <p:cNvPr id="70" name="Graphic 69">
                <a:extLst>
                  <a:ext uri="{FF2B5EF4-FFF2-40B4-BE49-F238E27FC236}">
                    <a16:creationId xmlns:a16="http://schemas.microsoft.com/office/drawing/2014/main" id="{80E63E1F-EA3D-C16D-59CF-B130D63072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19891390" y="3865656"/>
                <a:ext cx="407986" cy="391936"/>
              </a:xfrm>
              <a:prstGeom prst="rect">
                <a:avLst/>
              </a:prstGeom>
            </p:spPr>
          </p:pic>
          <p:pic>
            <p:nvPicPr>
              <p:cNvPr id="71" name="Graphic 70">
                <a:extLst>
                  <a:ext uri="{FF2B5EF4-FFF2-40B4-BE49-F238E27FC236}">
                    <a16:creationId xmlns:a16="http://schemas.microsoft.com/office/drawing/2014/main" id="{9EBBB62E-9E15-78C0-2340-2BE419CA9AF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20444817" y="3865656"/>
                <a:ext cx="407986" cy="391936"/>
              </a:xfrm>
              <a:prstGeom prst="rect">
                <a:avLst/>
              </a:prstGeom>
            </p:spPr>
          </p:pic>
          <p:pic>
            <p:nvPicPr>
              <p:cNvPr id="72" name="Graphic 71">
                <a:extLst>
                  <a:ext uri="{FF2B5EF4-FFF2-40B4-BE49-F238E27FC236}">
                    <a16:creationId xmlns:a16="http://schemas.microsoft.com/office/drawing/2014/main" id="{0773FA10-5E54-3FD3-56BE-015CE466B46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20998244" y="3865656"/>
                <a:ext cx="407986" cy="391936"/>
              </a:xfrm>
              <a:prstGeom prst="rect">
                <a:avLst/>
              </a:prstGeom>
            </p:spPr>
          </p:pic>
          <p:pic>
            <p:nvPicPr>
              <p:cNvPr id="73" name="Graphic 72">
                <a:extLst>
                  <a:ext uri="{FF2B5EF4-FFF2-40B4-BE49-F238E27FC236}">
                    <a16:creationId xmlns:a16="http://schemas.microsoft.com/office/drawing/2014/main" id="{BC8D5C3E-C5FE-87AE-2BB2-C70C25F4DDA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21551673" y="3865656"/>
                <a:ext cx="407986" cy="391936"/>
              </a:xfrm>
              <a:prstGeom prst="rect">
                <a:avLst/>
              </a:prstGeom>
            </p:spPr>
          </p:pic>
        </p:grpSp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1D761086-2CA4-EA4E-8945-C7A630E47CB7}"/>
                </a:ext>
              </a:extLst>
            </p:cNvPr>
            <p:cNvSpPr/>
            <p:nvPr/>
          </p:nvSpPr>
          <p:spPr>
            <a:xfrm rot="20233346">
              <a:off x="7583837" y="5677412"/>
              <a:ext cx="1008592" cy="1008592"/>
            </a:xfrm>
            <a:prstGeom prst="roundRect">
              <a:avLst>
                <a:gd name="adj" fmla="val 32870"/>
              </a:avLst>
            </a:prstGeom>
            <a:solidFill>
              <a:srgbClr val="F2F2F3"/>
            </a:solidFill>
            <a:ln>
              <a:noFill/>
            </a:ln>
            <a:effectLst>
              <a:outerShdw blurRad="622300" dist="50800" dir="5400000" algn="ctr" rotWithShape="0">
                <a:schemeClr val="accent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l"/>
              <a:endParaRPr lang="ru-RU" sz="4000" dirty="0" err="1">
                <a:solidFill>
                  <a:schemeClr val="tx1"/>
                </a:solidFill>
              </a:endParaRPr>
            </a:p>
          </p:txBody>
        </p:sp>
        <p:pic>
          <p:nvPicPr>
            <p:cNvPr id="75" name="Graphic 74">
              <a:extLst>
                <a:ext uri="{FF2B5EF4-FFF2-40B4-BE49-F238E27FC236}">
                  <a16:creationId xmlns:a16="http://schemas.microsoft.com/office/drawing/2014/main" id="{8F3C12F7-477E-164D-CF05-20402A8F82B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20233346">
              <a:off x="7852762" y="5825862"/>
              <a:ext cx="470743" cy="711692"/>
            </a:xfrm>
            <a:prstGeom prst="rect">
              <a:avLst/>
            </a:prstGeom>
          </p:spPr>
        </p:pic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719CA121-D3F6-05F8-F28E-829AADBEA2AA}"/>
                </a:ext>
              </a:extLst>
            </p:cNvPr>
            <p:cNvSpPr txBox="1"/>
            <p:nvPr/>
          </p:nvSpPr>
          <p:spPr>
            <a:xfrm rot="20153049">
              <a:off x="8083611" y="6701909"/>
              <a:ext cx="650819" cy="3693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lvl="0" indent="0" defTabSz="1828619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Tx/>
                <a:buNone/>
                <a:defRPr sz="3200" b="0" i="0">
                  <a:latin typeface="YS Text Regular" pitchFamily="2" charset="0"/>
                  <a:cs typeface="YS Text Regular" pitchFamily="2" charset="0"/>
                </a:defRPr>
              </a:lvl1pPr>
              <a:lvl2pPr marL="36" marR="0" lvl="1" indent="0" defTabSz="1907905" fontAlgn="auto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bg2"/>
                </a:buClr>
                <a:buSzPct val="120000"/>
                <a:buFont typeface="Arial Unicode MS" panose="020B0604020202020204" pitchFamily="34" charset="-128"/>
                <a:buNone/>
                <a:tabLst/>
                <a:defRPr sz="3200" b="0" i="0" baseline="0">
                  <a:latin typeface="YS Text Regular" pitchFamily="2" charset="0"/>
                  <a:cs typeface="YS Text Regular" pitchFamily="2" charset="0"/>
                </a:defRPr>
              </a:lvl2pPr>
              <a:lvl3pPr marL="461237" marR="0" lvl="2" indent="-457200" defTabSz="1828619" fontAlgn="auto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sz="3200" b="0" i="0">
                  <a:latin typeface="YS Text Regular" pitchFamily="2" charset="0"/>
                  <a:cs typeface="YS Text Regular" pitchFamily="2" charset="0"/>
                </a:defRPr>
              </a:lvl3pPr>
              <a:lvl4pPr marL="1080000" lvl="3" indent="-457200" defTabSz="1828619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Font typeface="System Font Regular"/>
                <a:buChar char="−"/>
                <a:tabLst/>
                <a:defRPr sz="3200" b="0" i="0">
                  <a:latin typeface="YS Text Regular" pitchFamily="2" charset="0"/>
                  <a:cs typeface="YS Text Regular" pitchFamily="2" charset="0"/>
                </a:defRPr>
              </a:lvl4pPr>
              <a:lvl5pPr marL="0" lvl="4" indent="0" defTabSz="1828619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Tx/>
                <a:buNone/>
                <a:defRPr sz="3200" b="0" i="0" baseline="0">
                  <a:latin typeface="YS Text Regular" pitchFamily="2" charset="0"/>
                  <a:cs typeface="YS Text Regular" pitchFamily="2" charset="0"/>
                </a:defRPr>
              </a:lvl5pPr>
              <a:lvl6pPr marL="5028699" indent="-457155" defTabSz="1828619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</a:lvl6pPr>
              <a:lvl7pPr marL="5943007" indent="-457155" defTabSz="1828619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</a:lvl7pPr>
              <a:lvl8pPr marL="6857315" indent="-457155" defTabSz="1828619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</a:lvl8pPr>
              <a:lvl9pPr marL="7771623" indent="-457155" defTabSz="1828619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2400" dirty="0">
                  <a:solidFill>
                    <a:schemeClr val="accent2">
                      <a:lumMod val="90000"/>
                    </a:schemeClr>
                  </a:solidFill>
                </a:rPr>
                <a:t>Click</a:t>
              </a:r>
              <a:endParaRPr lang="ru-RU" sz="2400" dirty="0">
                <a:solidFill>
                  <a:schemeClr val="accent2">
                    <a:lumMod val="90000"/>
                  </a:schemeClr>
                </a:solidFill>
              </a:endParaRPr>
            </a:p>
          </p:txBody>
        </p:sp>
      </p:grpSp>
      <p:pic>
        <p:nvPicPr>
          <p:cNvPr id="84" name="Picture 83">
            <a:extLst>
              <a:ext uri="{FF2B5EF4-FFF2-40B4-BE49-F238E27FC236}">
                <a16:creationId xmlns:a16="http://schemas.microsoft.com/office/drawing/2014/main" id="{1329AE8F-5229-81B9-8357-0EAD6F475C60}"/>
              </a:ext>
            </a:extLst>
          </p:cNvPr>
          <p:cNvPicPr>
            <a:picLocks noChangeAspect="1"/>
          </p:cNvPicPr>
          <p:nvPr/>
        </p:nvPicPr>
        <p:blipFill>
          <a:blip r:embed="rId14"/>
          <a:srcRect t="17161" b="13981"/>
          <a:stretch/>
        </p:blipFill>
        <p:spPr>
          <a:xfrm>
            <a:off x="5217169" y="7953829"/>
            <a:ext cx="5245363" cy="4660702"/>
          </a:xfrm>
          <a:prstGeom prst="rect">
            <a:avLst/>
          </a:prstGeom>
        </p:spPr>
      </p:pic>
      <p:pic>
        <p:nvPicPr>
          <p:cNvPr id="102" name="Picture 101">
            <a:extLst>
              <a:ext uri="{FF2B5EF4-FFF2-40B4-BE49-F238E27FC236}">
                <a16:creationId xmlns:a16="http://schemas.microsoft.com/office/drawing/2014/main" id="{88C11AFB-0284-8537-0E7B-C82E33C869B2}"/>
              </a:ext>
            </a:extLst>
          </p:cNvPr>
          <p:cNvPicPr>
            <a:picLocks noChangeAspect="1"/>
          </p:cNvPicPr>
          <p:nvPr/>
        </p:nvPicPr>
        <p:blipFill>
          <a:blip r:embed="rId15">
            <a:alphaModFix amt="80000"/>
          </a:blip>
          <a:srcRect b="47537"/>
          <a:stretch/>
        </p:blipFill>
        <p:spPr>
          <a:xfrm>
            <a:off x="11629765" y="9405070"/>
            <a:ext cx="4249280" cy="1135430"/>
          </a:xfrm>
          <a:prstGeom prst="rect">
            <a:avLst/>
          </a:prstGeom>
          <a:effectLst>
            <a:outerShdw blurRad="381000" sx="102000" sy="102000" algn="ctr" rotWithShape="0">
              <a:schemeClr val="accent1"/>
            </a:outerShdw>
          </a:effectLst>
        </p:spPr>
      </p:pic>
      <p:pic>
        <p:nvPicPr>
          <p:cNvPr id="104" name="Picture 103">
            <a:extLst>
              <a:ext uri="{FF2B5EF4-FFF2-40B4-BE49-F238E27FC236}">
                <a16:creationId xmlns:a16="http://schemas.microsoft.com/office/drawing/2014/main" id="{E0448356-152D-E171-85B9-32E1CC480372}"/>
              </a:ext>
            </a:extLst>
          </p:cNvPr>
          <p:cNvPicPr>
            <a:picLocks noChangeAspect="1"/>
          </p:cNvPicPr>
          <p:nvPr/>
        </p:nvPicPr>
        <p:blipFill>
          <a:blip r:embed="rId15">
            <a:alphaModFix amt="80000"/>
          </a:blip>
          <a:srcRect t="48286" b="-749"/>
          <a:stretch/>
        </p:blipFill>
        <p:spPr>
          <a:xfrm>
            <a:off x="11292526" y="10158196"/>
            <a:ext cx="5194011" cy="1387867"/>
          </a:xfrm>
          <a:prstGeom prst="rect">
            <a:avLst/>
          </a:prstGeom>
          <a:effectLst>
            <a:outerShdw blurRad="381000" sx="102000" sy="102000" algn="ctr" rotWithShape="0">
              <a:schemeClr val="accent1"/>
            </a:outerShdw>
          </a:effec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A43B4D5-9A28-8BFD-6903-BEAF57842DA1}"/>
              </a:ext>
            </a:extLst>
          </p:cNvPr>
          <p:cNvSpPr txBox="1"/>
          <p:nvPr/>
        </p:nvSpPr>
        <p:spPr>
          <a:xfrm>
            <a:off x="827995" y="13131292"/>
            <a:ext cx="8127471" cy="2769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1800" dirty="0">
                <a:solidFill>
                  <a:schemeClr val="bg1">
                    <a:alpha val="56000"/>
                  </a:schemeClr>
                </a:solidFill>
                <a:latin typeface="+mn-lt"/>
              </a:rPr>
              <a:t>*по данным Городских сервисов Яндекса </a:t>
            </a:r>
            <a:endParaRPr lang="en-GB" sz="1800" dirty="0">
              <a:solidFill>
                <a:schemeClr val="bg1">
                  <a:alpha val="56000"/>
                </a:schemeClr>
              </a:solidFill>
              <a:latin typeface="+mn-lt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BA59DED-1CBC-E6A2-47D1-109D030A534C}"/>
              </a:ext>
            </a:extLst>
          </p:cNvPr>
          <p:cNvPicPr>
            <a:picLocks/>
          </p:cNvPicPr>
          <p:nvPr/>
        </p:nvPicPr>
        <p:blipFill>
          <a:blip r:embed="rId16"/>
          <a:stretch>
            <a:fillRect/>
          </a:stretch>
        </p:blipFill>
        <p:spPr>
          <a:xfrm>
            <a:off x="9654757" y="2554226"/>
            <a:ext cx="1361586" cy="1361586"/>
          </a:xfrm>
          <a:prstGeom prst="ellipse">
            <a:avLst/>
          </a:prstGeom>
          <a:ln w="149225">
            <a:solidFill>
              <a:schemeClr val="accent5"/>
            </a:solidFill>
          </a:ln>
        </p:spPr>
      </p:pic>
      <p:pic>
        <p:nvPicPr>
          <p:cNvPr id="9" name="Picture 8" descr="A red box with arrows and a smile&#10;&#10;AI-generated content may be incorrect.">
            <a:extLst>
              <a:ext uri="{FF2B5EF4-FFF2-40B4-BE49-F238E27FC236}">
                <a16:creationId xmlns:a16="http://schemas.microsoft.com/office/drawing/2014/main" id="{5987579D-267F-1F82-1750-8882AA6D5AC4}"/>
              </a:ext>
            </a:extLst>
          </p:cNvPr>
          <p:cNvPicPr>
            <a:picLocks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702" y="7947873"/>
            <a:ext cx="969857" cy="969856"/>
          </a:xfrm>
          <a:prstGeom prst="ellipse">
            <a:avLst/>
          </a:prstGeom>
          <a:ln w="149225">
            <a:solidFill>
              <a:schemeClr val="accent5"/>
            </a:solidFill>
          </a:ln>
        </p:spPr>
      </p:pic>
    </p:spTree>
    <p:extLst>
      <p:ext uri="{BB962C8B-B14F-4D97-AF65-F5344CB8AC3E}">
        <p14:creationId xmlns:p14="http://schemas.microsoft.com/office/powerpoint/2010/main" val="127270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3EDAB40-79FE-C102-98DA-5114ED39E1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6458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EDAB40-79FE-C102-98DA-5114ED39E1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A89F6D04-D4A4-2557-2DEC-2B0E38ED2995}"/>
              </a:ext>
            </a:extLst>
          </p:cNvPr>
          <p:cNvSpPr/>
          <p:nvPr/>
        </p:nvSpPr>
        <p:spPr>
          <a:xfrm>
            <a:off x="22337486" y="12496800"/>
            <a:ext cx="1524000" cy="994952"/>
          </a:xfrm>
          <a:prstGeom prst="rect">
            <a:avLst/>
          </a:prstGeom>
          <a:solidFill>
            <a:srgbClr val="292B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l"/>
            <a:endParaRPr lang="en-GB" sz="3200" dirty="0" err="1">
              <a:solidFill>
                <a:schemeClr val="tx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2FB707C-6587-C985-F768-6A6A980522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2606" y="1681842"/>
            <a:ext cx="22597200" cy="895502"/>
          </a:xfrm>
        </p:spPr>
        <p:txBody>
          <a:bodyPr vert="horz"/>
          <a:lstStyle/>
          <a:p>
            <a:r>
              <a:rPr lang="ru-RU" sz="7200" dirty="0"/>
              <a:t>решения для тех, кто ценит комфорт и заботу</a:t>
            </a:r>
            <a:endParaRPr lang="en-GB" sz="7200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28AD767A-94ED-9339-B38D-DFCA38B2BF3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92175" y="584708"/>
            <a:ext cx="3089275" cy="450519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FDF20FFF-B67E-BB64-45EE-CE524ECB9680}"/>
              </a:ext>
            </a:extLst>
          </p:cNvPr>
          <p:cNvSpPr txBox="1">
            <a:spLocks/>
          </p:cNvSpPr>
          <p:nvPr/>
        </p:nvSpPr>
        <p:spPr>
          <a:xfrm>
            <a:off x="17294382" y="3603955"/>
            <a:ext cx="4742892" cy="79194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ru-RU"/>
            </a:defPPr>
            <a:lvl1pPr indent="0" defTabSz="1828619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FontTx/>
              <a:buNone/>
              <a:defRPr sz="3200" b="0" i="0"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b="0" i="0" baseline="0">
                <a:solidFill>
                  <a:schemeClr val="bg1"/>
                </a:solidFill>
                <a:ea typeface="Yango Text Medium" panose="020B0504020202020204" pitchFamily="34" charset="-79"/>
                <a:cs typeface="Yango Text Medium" panose="020B0504020202020204" pitchFamily="34" charset="-79"/>
              </a:defRPr>
            </a:lvl2pPr>
            <a:lvl3pPr marL="461237" marR="0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tabLst/>
              <a:defRPr sz="3200" b="0" i="0"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3pPr>
            <a:lvl4pPr marL="1080000" indent="-457200" defTabSz="1828619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Font typeface="System Font Regular"/>
              <a:buChar char="−"/>
              <a:tabLst/>
              <a:defRPr sz="3200" b="0" i="0"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4pPr>
            <a:lvl5pPr marL="0" indent="0" defTabSz="1828619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FontTx/>
              <a:buNone/>
              <a:defRPr sz="3200" b="0" i="0" baseline="0"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pPr lvl="1">
              <a:lnSpc>
                <a:spcPct val="80000"/>
              </a:lnSpc>
            </a:pPr>
            <a:r>
              <a:rPr lang="ru-RU" sz="3200" dirty="0">
                <a:latin typeface="+mj-lt"/>
              </a:rPr>
              <a:t>функция </a:t>
            </a:r>
            <a:br>
              <a:rPr lang="en-US" sz="3200" dirty="0">
                <a:latin typeface="+mj-lt"/>
              </a:rPr>
            </a:br>
            <a:r>
              <a:rPr lang="ru-RU" sz="3200" dirty="0">
                <a:latin typeface="+mj-lt"/>
              </a:rPr>
              <a:t>«Намекнуть о подарке»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A956B15-FA79-4C43-C8F5-3920996254E0}"/>
              </a:ext>
            </a:extLst>
          </p:cNvPr>
          <p:cNvSpPr txBox="1">
            <a:spLocks/>
          </p:cNvSpPr>
          <p:nvPr/>
        </p:nvSpPr>
        <p:spPr>
          <a:xfrm>
            <a:off x="880172" y="3603955"/>
            <a:ext cx="5522346" cy="79194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defPPr>
              <a:defRPr lang="ru-RU"/>
            </a:defPPr>
            <a:lvl1pPr indent="0" defTabSz="1828619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FontTx/>
              <a:buNone/>
              <a:defRPr sz="3200" b="0" i="0"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b="0" i="0" baseline="0">
                <a:solidFill>
                  <a:schemeClr val="bg1"/>
                </a:solidFill>
                <a:ea typeface="Yango Text Medium" panose="020B0504020202020204" pitchFamily="34" charset="-79"/>
                <a:cs typeface="Yango Text Medium" panose="020B0504020202020204" pitchFamily="34" charset="-79"/>
              </a:defRPr>
            </a:lvl2pPr>
            <a:lvl3pPr marL="461237" marR="0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tabLst/>
              <a:defRPr sz="3200" b="0" i="0"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3pPr>
            <a:lvl4pPr marL="1080000" indent="-457200" defTabSz="1828619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Font typeface="System Font Regular"/>
              <a:buChar char="−"/>
              <a:tabLst/>
              <a:defRPr sz="3200" b="0" i="0"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4pPr>
            <a:lvl5pPr marL="0" indent="0" defTabSz="1828619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FontTx/>
              <a:buNone/>
              <a:defRPr sz="3200" b="0" i="0" baseline="0"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pPr lvl="1">
              <a:lnSpc>
                <a:spcPct val="80000"/>
              </a:lnSpc>
            </a:pPr>
            <a:r>
              <a:rPr lang="ru-RU" sz="3200" dirty="0">
                <a:latin typeface="+mj-lt"/>
              </a:rPr>
              <a:t>кампания</a:t>
            </a:r>
            <a:r>
              <a:rPr lang="en-US" sz="3200" dirty="0">
                <a:latin typeface="+mj-lt"/>
              </a:rPr>
              <a:t> ultima</a:t>
            </a:r>
            <a:r>
              <a:rPr lang="ru-RU" sz="3200" dirty="0">
                <a:latin typeface="+mj-lt"/>
              </a:rPr>
              <a:t> </a:t>
            </a:r>
            <a:br>
              <a:rPr lang="en-US" sz="3200" dirty="0">
                <a:latin typeface="+mj-lt"/>
              </a:rPr>
            </a:br>
            <a:r>
              <a:rPr lang="ru-RU" sz="3200" dirty="0">
                <a:latin typeface="+mj-lt"/>
              </a:rPr>
              <a:t>по сценарному пользованию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F702013-90E3-FF0A-1475-B854F7691943}"/>
              </a:ext>
            </a:extLst>
          </p:cNvPr>
          <p:cNvSpPr txBox="1">
            <a:spLocks/>
          </p:cNvSpPr>
          <p:nvPr/>
        </p:nvSpPr>
        <p:spPr>
          <a:xfrm>
            <a:off x="880172" y="4644668"/>
            <a:ext cx="5641545" cy="664797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2800">
                <a:solidFill>
                  <a:schemeClr val="accent3">
                    <a:lumMod val="60000"/>
                    <a:lumOff val="40000"/>
                    <a:alpha val="85749"/>
                  </a:schemeClr>
                </a:solidFill>
                <a:cs typeface="YS Geo Medium" pitchFamily="34" charset="-120"/>
              </a:defRPr>
            </a:lvl1pPr>
          </a:lstStyle>
          <a:p>
            <a:r>
              <a:rPr lang="ru-RU" sz="2400" dirty="0"/>
              <a:t>доехать с комфортом можно куда угодно, не только по особому случаю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0F418669-4D9E-ED60-3572-65ED1462CD7C}"/>
              </a:ext>
            </a:extLst>
          </p:cNvPr>
          <p:cNvGrpSpPr/>
          <p:nvPr/>
        </p:nvGrpSpPr>
        <p:grpSpPr>
          <a:xfrm>
            <a:off x="8679064" y="5128915"/>
            <a:ext cx="6245830" cy="10174310"/>
            <a:chOff x="6190859" y="3371850"/>
            <a:chExt cx="6350093" cy="10344150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4578ADC1-164C-D41C-EE75-9308944EF55A}"/>
                </a:ext>
              </a:extLst>
            </p:cNvPr>
            <p:cNvGrpSpPr/>
            <p:nvPr/>
          </p:nvGrpSpPr>
          <p:grpSpPr>
            <a:xfrm>
              <a:off x="6359259" y="3869203"/>
              <a:ext cx="6181693" cy="9846797"/>
              <a:chOff x="1581758" y="6196085"/>
              <a:chExt cx="4561448" cy="7265915"/>
            </a:xfrm>
          </p:grpSpPr>
          <p:pic>
            <p:nvPicPr>
              <p:cNvPr id="41" name="Picture 40">
                <a:extLst>
                  <a:ext uri="{FF2B5EF4-FFF2-40B4-BE49-F238E27FC236}">
                    <a16:creationId xmlns:a16="http://schemas.microsoft.com/office/drawing/2014/main" id="{3F64C5E6-F488-1BFF-2213-102C94679C18}"/>
                  </a:ext>
                </a:extLst>
              </p:cNvPr>
              <p:cNvPicPr>
                <a:picLocks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1581758" y="6255660"/>
                <a:ext cx="4561448" cy="7206340"/>
              </a:xfrm>
              <a:prstGeom prst="rect">
                <a:avLst/>
              </a:prstGeom>
            </p:spPr>
          </p:pic>
          <p:pic>
            <p:nvPicPr>
              <p:cNvPr id="44" name="Picture 43">
                <a:extLst>
                  <a:ext uri="{FF2B5EF4-FFF2-40B4-BE49-F238E27FC236}">
                    <a16:creationId xmlns:a16="http://schemas.microsoft.com/office/drawing/2014/main" id="{A4CECCF6-1E67-02ED-CCA2-FCCA4D927E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1771314" y="6337831"/>
                <a:ext cx="4125602" cy="520169"/>
              </a:xfrm>
              <a:prstGeom prst="rect">
                <a:avLst/>
              </a:prstGeom>
            </p:spPr>
          </p:pic>
          <p:pic>
            <p:nvPicPr>
              <p:cNvPr id="45" name="Picture 44">
                <a:extLst>
                  <a:ext uri="{FF2B5EF4-FFF2-40B4-BE49-F238E27FC236}">
                    <a16:creationId xmlns:a16="http://schemas.microsoft.com/office/drawing/2014/main" id="{BEA65334-E94C-F2F2-CA90-29B6788423C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15061"/>
              <a:stretch>
                <a:fillRect/>
              </a:stretch>
            </p:blipFill>
            <p:spPr>
              <a:xfrm>
                <a:off x="1698293" y="6196085"/>
                <a:ext cx="4367284" cy="7265915"/>
              </a:xfrm>
              <a:custGeom>
                <a:avLst/>
                <a:gdLst>
                  <a:gd name="connsiteX0" fmla="*/ 0 w 4367284"/>
                  <a:gd name="connsiteY0" fmla="*/ 0 h 7265915"/>
                  <a:gd name="connsiteX1" fmla="*/ 4367284 w 4367284"/>
                  <a:gd name="connsiteY1" fmla="*/ 0 h 7265915"/>
                  <a:gd name="connsiteX2" fmla="*/ 4367284 w 4367284"/>
                  <a:gd name="connsiteY2" fmla="*/ 7265915 h 7265915"/>
                  <a:gd name="connsiteX3" fmla="*/ 4176215 w 4367284"/>
                  <a:gd name="connsiteY3" fmla="*/ 7265915 h 7265915"/>
                  <a:gd name="connsiteX4" fmla="*/ 4176215 w 4367284"/>
                  <a:gd name="connsiteY4" fmla="*/ 698665 h 7265915"/>
                  <a:gd name="connsiteX5" fmla="*/ 3653691 w 4367284"/>
                  <a:gd name="connsiteY5" fmla="*/ 176141 h 7265915"/>
                  <a:gd name="connsiteX6" fmla="*/ 697481 w 4367284"/>
                  <a:gd name="connsiteY6" fmla="*/ 176141 h 7265915"/>
                  <a:gd name="connsiteX7" fmla="*/ 174957 w 4367284"/>
                  <a:gd name="connsiteY7" fmla="*/ 698665 h 7265915"/>
                  <a:gd name="connsiteX8" fmla="*/ 174957 w 4367284"/>
                  <a:gd name="connsiteY8" fmla="*/ 7265915 h 7265915"/>
                  <a:gd name="connsiteX9" fmla="*/ 0 w 4367284"/>
                  <a:gd name="connsiteY9" fmla="*/ 7265915 h 7265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67284" h="7265915">
                    <a:moveTo>
                      <a:pt x="0" y="0"/>
                    </a:moveTo>
                    <a:lnTo>
                      <a:pt x="4367284" y="0"/>
                    </a:lnTo>
                    <a:lnTo>
                      <a:pt x="4367284" y="7265915"/>
                    </a:lnTo>
                    <a:lnTo>
                      <a:pt x="4176215" y="7265915"/>
                    </a:lnTo>
                    <a:lnTo>
                      <a:pt x="4176215" y="698665"/>
                    </a:lnTo>
                    <a:cubicBezTo>
                      <a:pt x="4176215" y="410083"/>
                      <a:pt x="3942273" y="176141"/>
                      <a:pt x="3653691" y="176141"/>
                    </a:cubicBezTo>
                    <a:lnTo>
                      <a:pt x="697481" y="176141"/>
                    </a:lnTo>
                    <a:cubicBezTo>
                      <a:pt x="408899" y="176141"/>
                      <a:pt x="174957" y="410083"/>
                      <a:pt x="174957" y="698665"/>
                    </a:cubicBezTo>
                    <a:lnTo>
                      <a:pt x="174957" y="7265915"/>
                    </a:lnTo>
                    <a:lnTo>
                      <a:pt x="0" y="7265915"/>
                    </a:lnTo>
                    <a:close/>
                  </a:path>
                </a:pathLst>
              </a:custGeom>
            </p:spPr>
          </p:pic>
        </p:grpSp>
        <p:sp>
          <p:nvSpPr>
            <p:cNvPr id="36" name="Rectangle: Top Corners Rounded 35">
              <a:extLst>
                <a:ext uri="{FF2B5EF4-FFF2-40B4-BE49-F238E27FC236}">
                  <a16:creationId xmlns:a16="http://schemas.microsoft.com/office/drawing/2014/main" id="{4F94C315-7026-DB11-08A6-376D4BC932E2}"/>
                </a:ext>
              </a:extLst>
            </p:cNvPr>
            <p:cNvSpPr/>
            <p:nvPr/>
          </p:nvSpPr>
          <p:spPr>
            <a:xfrm>
              <a:off x="6190859" y="3371850"/>
              <a:ext cx="6279066" cy="10344150"/>
            </a:xfrm>
            <a:prstGeom prst="round2SameRect">
              <a:avLst/>
            </a:prstGeom>
            <a:solidFill>
              <a:srgbClr val="292B31">
                <a:alpha val="40000"/>
              </a:srgbClr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tIns="216000" rIns="90000" bIns="216000" rtlCol="0" anchor="ctr" anchorCtr="0"/>
            <a:lstStyle/>
            <a:p>
              <a:pPr algn="ctr">
                <a:lnSpc>
                  <a:spcPct val="90000"/>
                </a:lnSpc>
              </a:pPr>
              <a:endParaRPr lang="ru-RU" sz="3200" dirty="0">
                <a:ln w="0"/>
                <a:solidFill>
                  <a:schemeClr val="tx1"/>
                </a:solidFill>
              </a:endParaRPr>
            </a:p>
          </p:txBody>
        </p:sp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74ED496F-9D78-BEEE-767D-709A6146FD1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76127" y="7190698"/>
              <a:ext cx="3728367" cy="3728368"/>
            </a:xfrm>
            <a:prstGeom prst="rect">
              <a:avLst/>
            </a:prstGeom>
            <a:effectLst>
              <a:softEdge rad="330200"/>
            </a:effectLst>
          </p:spPr>
        </p:pic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32C4C7F2-C739-D7EE-DE8D-4390994D489D}"/>
              </a:ext>
            </a:extLst>
          </p:cNvPr>
          <p:cNvSpPr txBox="1">
            <a:spLocks/>
          </p:cNvSpPr>
          <p:nvPr/>
        </p:nvSpPr>
        <p:spPr>
          <a:xfrm>
            <a:off x="9376290" y="3603955"/>
            <a:ext cx="2470694" cy="79194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ru-RU"/>
            </a:defPPr>
            <a:lvl1pPr indent="0" defTabSz="1828619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FontTx/>
              <a:buNone/>
              <a:defRPr sz="3200" b="0" i="0"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b="0" i="0" baseline="0">
                <a:solidFill>
                  <a:schemeClr val="bg1"/>
                </a:solidFill>
                <a:ea typeface="Yango Text Medium" panose="020B0504020202020204" pitchFamily="34" charset="-79"/>
                <a:cs typeface="Yango Text Medium" panose="020B0504020202020204" pitchFamily="34" charset="-79"/>
              </a:defRPr>
            </a:lvl2pPr>
            <a:lvl3pPr marL="461237" marR="0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tabLst/>
              <a:defRPr sz="3200" b="0" i="0"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3pPr>
            <a:lvl4pPr marL="1080000" indent="-457200" defTabSz="1828619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Font typeface="System Font Regular"/>
              <a:buChar char="−"/>
              <a:tabLst/>
              <a:defRPr sz="3200" b="0" i="0"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4pPr>
            <a:lvl5pPr marL="0" indent="0" defTabSz="1828619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FontTx/>
              <a:buNone/>
              <a:defRPr sz="3200" b="0" i="0" baseline="0"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pPr lvl="1">
              <a:lnSpc>
                <a:spcPct val="80000"/>
              </a:lnSpc>
            </a:pPr>
            <a:r>
              <a:rPr lang="ru-RU" sz="3200" dirty="0">
                <a:latin typeface="+mj-lt"/>
              </a:rPr>
              <a:t>услуга</a:t>
            </a:r>
            <a:br>
              <a:rPr lang="ru-RU" sz="3200" dirty="0">
                <a:latin typeface="+mj-lt"/>
              </a:rPr>
            </a:br>
            <a:r>
              <a:rPr lang="ru-RU" sz="3200" dirty="0">
                <a:latin typeface="+mj-lt"/>
              </a:rPr>
              <a:t>«консьерж»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6404CDE-4446-9BED-6E55-7C1D95C59685}"/>
              </a:ext>
            </a:extLst>
          </p:cNvPr>
          <p:cNvSpPr txBox="1">
            <a:spLocks/>
          </p:cNvSpPr>
          <p:nvPr/>
        </p:nvSpPr>
        <p:spPr>
          <a:xfrm>
            <a:off x="9376290" y="4644668"/>
            <a:ext cx="5641545" cy="664797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defRPr sz="2800">
                <a:solidFill>
                  <a:schemeClr val="accent3">
                    <a:lumMod val="60000"/>
                    <a:lumOff val="40000"/>
                    <a:alpha val="85749"/>
                  </a:schemeClr>
                </a:solidFill>
                <a:cs typeface="YS Geo Medium" pitchFamily="34" charset="-120"/>
              </a:defRPr>
            </a:lvl1pPr>
          </a:lstStyle>
          <a:p>
            <a:r>
              <a:rPr lang="ru-RU" sz="2400" dirty="0"/>
              <a:t>высочайшие стандарты обслуживания </a:t>
            </a:r>
            <a:br>
              <a:rPr lang="ru-RU" sz="2400" dirty="0"/>
            </a:br>
            <a:r>
              <a:rPr lang="ru-RU" sz="2400" dirty="0"/>
              <a:t>и уровня комфорта</a:t>
            </a:r>
            <a:r>
              <a:rPr lang="en-US" sz="2400" dirty="0"/>
              <a:t> </a:t>
            </a:r>
            <a:r>
              <a:rPr lang="ru-RU" sz="2400" dirty="0"/>
              <a:t>по клику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F98D0D5C-C97F-0ACD-6C67-930096A72F3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054"/>
          <a:stretch/>
        </p:blipFill>
        <p:spPr>
          <a:xfrm>
            <a:off x="844971" y="5724000"/>
            <a:ext cx="5559644" cy="7992000"/>
          </a:xfrm>
          <a:prstGeom prst="round2SameRect">
            <a:avLst>
              <a:gd name="adj1" fmla="val 5659"/>
              <a:gd name="adj2" fmla="val 0"/>
            </a:avLst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7684DC99-F87F-B882-E27B-109DB4185FE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6319236" y="4877474"/>
            <a:ext cx="7542250" cy="8838528"/>
          </a:xfrm>
          <a:prstGeom prst="rect">
            <a:avLst/>
          </a:prstGeom>
        </p:spPr>
      </p:pic>
      <p:grpSp>
        <p:nvGrpSpPr>
          <p:cNvPr id="15" name="Группа 25">
            <a:extLst>
              <a:ext uri="{FF2B5EF4-FFF2-40B4-BE49-F238E27FC236}">
                <a16:creationId xmlns:a16="http://schemas.microsoft.com/office/drawing/2014/main" id="{3F15B710-A0ED-6623-F814-102860196700}"/>
              </a:ext>
            </a:extLst>
          </p:cNvPr>
          <p:cNvGrpSpPr/>
          <p:nvPr/>
        </p:nvGrpSpPr>
        <p:grpSpPr>
          <a:xfrm>
            <a:off x="22383952" y="4395903"/>
            <a:ext cx="1477534" cy="1477534"/>
            <a:chOff x="9146643" y="3210679"/>
            <a:chExt cx="1477534" cy="1477534"/>
          </a:xfrm>
        </p:grpSpPr>
        <p:sp>
          <p:nvSpPr>
            <p:cNvPr id="16" name="Овал 26">
              <a:extLst>
                <a:ext uri="{FF2B5EF4-FFF2-40B4-BE49-F238E27FC236}">
                  <a16:creationId xmlns:a16="http://schemas.microsoft.com/office/drawing/2014/main" id="{3C53FA22-767C-B91D-0C4F-7817B930D59E}"/>
                </a:ext>
              </a:extLst>
            </p:cNvPr>
            <p:cNvSpPr/>
            <p:nvPr/>
          </p:nvSpPr>
          <p:spPr>
            <a:xfrm>
              <a:off x="9146643" y="3210679"/>
              <a:ext cx="1477534" cy="147753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endParaRPr lang="ru-RU" sz="3200" dirty="0" err="1">
                <a:solidFill>
                  <a:schemeClr val="tx1"/>
                </a:solidFill>
              </a:endParaRPr>
            </a:p>
          </p:txBody>
        </p:sp>
        <p:pic>
          <p:nvPicPr>
            <p:cNvPr id="17" name="Graphic 10">
              <a:extLst>
                <a:ext uri="{FF2B5EF4-FFF2-40B4-BE49-F238E27FC236}">
                  <a16:creationId xmlns:a16="http://schemas.microsoft.com/office/drawing/2014/main" id="{7166E0F1-8131-3EDE-75AE-772BA696F27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9340369" y="3404405"/>
              <a:ext cx="1090083" cy="10900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6440449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3EDAB40-79FE-C102-98DA-5114ED39E1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0769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EDAB40-79FE-C102-98DA-5114ED39E1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Rectangle 60">
            <a:extLst>
              <a:ext uri="{FF2B5EF4-FFF2-40B4-BE49-F238E27FC236}">
                <a16:creationId xmlns:a16="http://schemas.microsoft.com/office/drawing/2014/main" id="{B4BD39D0-4A75-7EAC-0990-18668EDCE61D}"/>
              </a:ext>
            </a:extLst>
          </p:cNvPr>
          <p:cNvSpPr/>
          <p:nvPr/>
        </p:nvSpPr>
        <p:spPr>
          <a:xfrm>
            <a:off x="22669279" y="12732991"/>
            <a:ext cx="1148664" cy="879265"/>
          </a:xfrm>
          <a:prstGeom prst="rect">
            <a:avLst/>
          </a:prstGeom>
          <a:solidFill>
            <a:srgbClr val="292B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l"/>
            <a:endParaRPr lang="en-GB" sz="3200" dirty="0" err="1">
              <a:solidFill>
                <a:schemeClr val="tx1"/>
              </a:solidFill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AF664B50-CA09-84D7-EAEE-4168D980E4EB}"/>
              </a:ext>
            </a:extLst>
          </p:cNvPr>
          <p:cNvGrpSpPr/>
          <p:nvPr/>
        </p:nvGrpSpPr>
        <p:grpSpPr>
          <a:xfrm>
            <a:off x="9191475" y="4545631"/>
            <a:ext cx="12214854" cy="8187360"/>
            <a:chOff x="8943945" y="4913597"/>
            <a:chExt cx="12214854" cy="8187360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87AE9957-4498-71DF-EF2A-8C3D2A7B432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 b="32013"/>
            <a:stretch/>
          </p:blipFill>
          <p:spPr>
            <a:xfrm rot="20727759">
              <a:off x="12223263" y="4913597"/>
              <a:ext cx="5745134" cy="3905948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90392CA1-14A6-3778-3F81-E541559BD937}"/>
                </a:ext>
              </a:extLst>
            </p:cNvPr>
            <p:cNvGrpSpPr/>
            <p:nvPr/>
          </p:nvGrpSpPr>
          <p:grpSpPr>
            <a:xfrm>
              <a:off x="12214263" y="5331297"/>
              <a:ext cx="4520229" cy="4757221"/>
              <a:chOff x="8628305" y="6412430"/>
              <a:chExt cx="3879454" cy="4082851"/>
            </a:xfrm>
            <a:gradFill>
              <a:gsLst>
                <a:gs pos="0">
                  <a:schemeClr val="accent5"/>
                </a:gs>
                <a:gs pos="100000">
                  <a:schemeClr val="accent5">
                    <a:alpha val="0"/>
                  </a:schemeClr>
                </a:gs>
              </a:gsLst>
              <a:lin ang="16200000" scaled="1"/>
            </a:gradFill>
          </p:grpSpPr>
          <p:sp>
            <p:nvSpPr>
              <p:cNvPr id="13" name="Rectangle: Rounded Corners 12">
                <a:extLst>
                  <a:ext uri="{FF2B5EF4-FFF2-40B4-BE49-F238E27FC236}">
                    <a16:creationId xmlns:a16="http://schemas.microsoft.com/office/drawing/2014/main" id="{7E39C40A-8EB5-17E0-93AF-BA26F0C6352F}"/>
                  </a:ext>
                </a:extLst>
              </p:cNvPr>
              <p:cNvSpPr/>
              <p:nvPr/>
            </p:nvSpPr>
            <p:spPr>
              <a:xfrm rot="20175506">
                <a:off x="8628305" y="6642313"/>
                <a:ext cx="3718105" cy="3718101"/>
              </a:xfrm>
              <a:prstGeom prst="roundRect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t"/>
              <a:lstStyle/>
              <a:p>
                <a:endParaRPr lang="ru-RU" sz="3200" dirty="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56A50942-D302-3300-EE92-2FC147B547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rcRect t="4531" r="24873" b="12664"/>
              <a:stretch>
                <a:fillRect/>
              </a:stretch>
            </p:blipFill>
            <p:spPr>
              <a:xfrm rot="20727759">
                <a:off x="8803435" y="6412430"/>
                <a:ext cx="3704324" cy="4082851"/>
              </a:xfrm>
              <a:custGeom>
                <a:avLst/>
                <a:gdLst>
                  <a:gd name="connsiteX0" fmla="*/ 1621914 w 2213555"/>
                  <a:gd name="connsiteY0" fmla="*/ 313 h 2439750"/>
                  <a:gd name="connsiteX1" fmla="*/ 1971812 w 2213555"/>
                  <a:gd name="connsiteY1" fmla="*/ 311130 h 2439750"/>
                  <a:gd name="connsiteX2" fmla="*/ 2208732 w 2213555"/>
                  <a:gd name="connsiteY2" fmla="*/ 1773237 h 2439750"/>
                  <a:gd name="connsiteX3" fmla="*/ 1902426 w 2213555"/>
                  <a:gd name="connsiteY3" fmla="*/ 2198007 h 2439750"/>
                  <a:gd name="connsiteX4" fmla="*/ 440318 w 2213555"/>
                  <a:gd name="connsiteY4" fmla="*/ 2434927 h 2439750"/>
                  <a:gd name="connsiteX5" fmla="*/ 15548 w 2213555"/>
                  <a:gd name="connsiteY5" fmla="*/ 2128620 h 2439750"/>
                  <a:gd name="connsiteX6" fmla="*/ 0 w 2213555"/>
                  <a:gd name="connsiteY6" fmla="*/ 2032668 h 2439750"/>
                  <a:gd name="connsiteX7" fmla="*/ 0 w 2213555"/>
                  <a:gd name="connsiteY7" fmla="*/ 267310 h 2439750"/>
                  <a:gd name="connsiteX8" fmla="*/ 12470 w 2213555"/>
                  <a:gd name="connsiteY8" fmla="*/ 261107 h 2439750"/>
                  <a:gd name="connsiteX9" fmla="*/ 84934 w 2213555"/>
                  <a:gd name="connsiteY9" fmla="*/ 241743 h 2439750"/>
                  <a:gd name="connsiteX10" fmla="*/ 1547042 w 2213555"/>
                  <a:gd name="connsiteY10" fmla="*/ 4824 h 2439750"/>
                  <a:gd name="connsiteX11" fmla="*/ 1621914 w 2213555"/>
                  <a:gd name="connsiteY11" fmla="*/ 313 h 2439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13555" h="2439750">
                    <a:moveTo>
                      <a:pt x="1621914" y="313"/>
                    </a:moveTo>
                    <a:cubicBezTo>
                      <a:pt x="1794006" y="7407"/>
                      <a:pt x="1943188" y="134484"/>
                      <a:pt x="1971812" y="311130"/>
                    </a:cubicBezTo>
                    <a:lnTo>
                      <a:pt x="2208732" y="1773237"/>
                    </a:lnTo>
                    <a:cubicBezTo>
                      <a:pt x="2241444" y="1975117"/>
                      <a:pt x="2104306" y="2165294"/>
                      <a:pt x="1902426" y="2198007"/>
                    </a:cubicBezTo>
                    <a:lnTo>
                      <a:pt x="440318" y="2434927"/>
                    </a:lnTo>
                    <a:cubicBezTo>
                      <a:pt x="238438" y="2467640"/>
                      <a:pt x="48262" y="2330501"/>
                      <a:pt x="15548" y="2128620"/>
                    </a:cubicBezTo>
                    <a:lnTo>
                      <a:pt x="0" y="2032668"/>
                    </a:lnTo>
                    <a:lnTo>
                      <a:pt x="0" y="267310"/>
                    </a:lnTo>
                    <a:lnTo>
                      <a:pt x="12470" y="261107"/>
                    </a:lnTo>
                    <a:cubicBezTo>
                      <a:pt x="35476" y="252382"/>
                      <a:pt x="59700" y="245832"/>
                      <a:pt x="84934" y="241743"/>
                    </a:cubicBezTo>
                    <a:lnTo>
                      <a:pt x="1547042" y="4824"/>
                    </a:lnTo>
                    <a:cubicBezTo>
                      <a:pt x="1572276" y="735"/>
                      <a:pt x="1597330" y="-701"/>
                      <a:pt x="1621914" y="313"/>
                    </a:cubicBezTo>
                    <a:close/>
                  </a:path>
                </a:pathLst>
              </a:custGeom>
              <a:grpFill/>
            </p:spPr>
          </p:pic>
        </p:grp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51FC8459-3A6C-B72F-EB1E-D9E654262044}"/>
                </a:ext>
              </a:extLst>
            </p:cNvPr>
            <p:cNvSpPr/>
            <p:nvPr/>
          </p:nvSpPr>
          <p:spPr>
            <a:xfrm rot="10800000">
              <a:off x="11890354" y="6863806"/>
              <a:ext cx="6740919" cy="3660977"/>
            </a:xfrm>
            <a:prstGeom prst="rect">
              <a:avLst/>
            </a:prstGeom>
            <a:gradFill>
              <a:gsLst>
                <a:gs pos="0">
                  <a:schemeClr val="accent5"/>
                </a:gs>
                <a:gs pos="100000">
                  <a:schemeClr val="accent5">
                    <a:alpha val="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endParaRPr lang="en-GB" sz="3200" dirty="0" err="1">
                <a:solidFill>
                  <a:schemeClr val="tx1"/>
                </a:solidFill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776742C3-454A-925C-4179-4FC988419DD9}"/>
                </a:ext>
              </a:extLst>
            </p:cNvPr>
            <p:cNvSpPr/>
            <p:nvPr/>
          </p:nvSpPr>
          <p:spPr>
            <a:xfrm rot="881900">
              <a:off x="14541232" y="8102916"/>
              <a:ext cx="3975337" cy="3975333"/>
            </a:xfrm>
            <a:prstGeom prst="roundRect">
              <a:avLst/>
            </a:prstGeom>
            <a:gradFill>
              <a:gsLst>
                <a:gs pos="0">
                  <a:schemeClr val="accent5"/>
                </a:gs>
                <a:gs pos="100000">
                  <a:schemeClr val="accent5">
                    <a:alpha val="0"/>
                  </a:schemeClr>
                </a:gs>
              </a:gsLst>
              <a:lin ang="16200000" scaled="1"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l"/>
              <a:endParaRPr lang="ru-RU" sz="3200" dirty="0" err="1">
                <a:solidFill>
                  <a:schemeClr val="tx1"/>
                </a:solidFill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C4E8D8C9-E050-AA26-7EDD-D105006848DE}"/>
                </a:ext>
              </a:extLst>
            </p:cNvPr>
            <p:cNvGrpSpPr/>
            <p:nvPr/>
          </p:nvGrpSpPr>
          <p:grpSpPr>
            <a:xfrm rot="1615844">
              <a:off x="14636890" y="7426648"/>
              <a:ext cx="5249975" cy="4963840"/>
              <a:chOff x="16711729" y="7465153"/>
              <a:chExt cx="4505753" cy="4260180"/>
            </a:xfrm>
          </p:grpSpPr>
          <p:pic>
            <p:nvPicPr>
              <p:cNvPr id="11" name="Picture 10">
                <a:extLst>
                  <a:ext uri="{FF2B5EF4-FFF2-40B4-BE49-F238E27FC236}">
                    <a16:creationId xmlns:a16="http://schemas.microsoft.com/office/drawing/2014/main" id="{8938C0F2-7017-45B2-895F-F4F006F473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rcRect r="7949" b="11698"/>
              <a:stretch/>
            </p:blipFill>
            <p:spPr>
              <a:xfrm rot="20866056" flipH="1">
                <a:off x="16933538" y="7465153"/>
                <a:ext cx="4283944" cy="4109447"/>
              </a:xfrm>
              <a:prstGeom prst="rect">
                <a:avLst/>
              </a:prstGeom>
            </p:spPr>
          </p:pic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1BD3F3F3-774A-5A00-19C4-74CC10CBF9F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rcRect l="25460" t="14991" r="1229" b="11698"/>
              <a:stretch>
                <a:fillRect/>
              </a:stretch>
            </p:blipFill>
            <p:spPr>
              <a:xfrm rot="20866056" flipH="1">
                <a:off x="16711729" y="8313532"/>
                <a:ext cx="3411806" cy="3411801"/>
              </a:xfrm>
              <a:custGeom>
                <a:avLst/>
                <a:gdLst>
                  <a:gd name="connsiteX0" fmla="*/ 2123706 w 2548458"/>
                  <a:gd name="connsiteY0" fmla="*/ 0 h 2548456"/>
                  <a:gd name="connsiteX1" fmla="*/ 424750 w 2548458"/>
                  <a:gd name="connsiteY1" fmla="*/ 0 h 2548456"/>
                  <a:gd name="connsiteX2" fmla="*/ 0 w 2548458"/>
                  <a:gd name="connsiteY2" fmla="*/ 424751 h 2548456"/>
                  <a:gd name="connsiteX3" fmla="*/ 0 w 2548458"/>
                  <a:gd name="connsiteY3" fmla="*/ 2123705 h 2548456"/>
                  <a:gd name="connsiteX4" fmla="*/ 424750 w 2548458"/>
                  <a:gd name="connsiteY4" fmla="*/ 2548456 h 2548456"/>
                  <a:gd name="connsiteX5" fmla="*/ 2123706 w 2548458"/>
                  <a:gd name="connsiteY5" fmla="*/ 2548456 h 2548456"/>
                  <a:gd name="connsiteX6" fmla="*/ 2548458 w 2548458"/>
                  <a:gd name="connsiteY6" fmla="*/ 2123705 h 2548456"/>
                  <a:gd name="connsiteX7" fmla="*/ 2548458 w 2548458"/>
                  <a:gd name="connsiteY7" fmla="*/ 424751 h 2548456"/>
                  <a:gd name="connsiteX8" fmla="*/ 2123706 w 2548458"/>
                  <a:gd name="connsiteY8" fmla="*/ 0 h 2548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48458" h="2548456">
                    <a:moveTo>
                      <a:pt x="2123706" y="0"/>
                    </a:moveTo>
                    <a:lnTo>
                      <a:pt x="424750" y="0"/>
                    </a:lnTo>
                    <a:cubicBezTo>
                      <a:pt x="190168" y="0"/>
                      <a:pt x="0" y="190168"/>
                      <a:pt x="0" y="424751"/>
                    </a:cubicBezTo>
                    <a:lnTo>
                      <a:pt x="0" y="2123705"/>
                    </a:lnTo>
                    <a:cubicBezTo>
                      <a:pt x="0" y="2358288"/>
                      <a:pt x="190168" y="2548456"/>
                      <a:pt x="424750" y="2548456"/>
                    </a:cubicBezTo>
                    <a:lnTo>
                      <a:pt x="2123706" y="2548456"/>
                    </a:lnTo>
                    <a:cubicBezTo>
                      <a:pt x="2358290" y="2548456"/>
                      <a:pt x="2548458" y="2358288"/>
                      <a:pt x="2548458" y="2123705"/>
                    </a:cubicBezTo>
                    <a:lnTo>
                      <a:pt x="2548458" y="424751"/>
                    </a:lnTo>
                    <a:cubicBezTo>
                      <a:pt x="2548458" y="190168"/>
                      <a:pt x="2358290" y="0"/>
                      <a:pt x="2123706" y="0"/>
                    </a:cubicBezTo>
                    <a:close/>
                  </a:path>
                </a:pathLst>
              </a:custGeom>
              <a:noFill/>
            </p:spPr>
          </p:pic>
        </p:grpSp>
        <p:sp>
          <p:nvSpPr>
            <p:cNvPr id="40" name="Скругленный прямоугольник 26">
              <a:extLst>
                <a:ext uri="{FF2B5EF4-FFF2-40B4-BE49-F238E27FC236}">
                  <a16:creationId xmlns:a16="http://schemas.microsoft.com/office/drawing/2014/main" id="{5FC1BCA0-6B33-DAB3-FEF9-CA536968100E}"/>
                </a:ext>
              </a:extLst>
            </p:cNvPr>
            <p:cNvSpPr/>
            <p:nvPr/>
          </p:nvSpPr>
          <p:spPr>
            <a:xfrm>
              <a:off x="10129483" y="5449045"/>
              <a:ext cx="3703750" cy="845032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15177"/>
              </a:schemeClr>
            </a:solidFill>
            <a:ln>
              <a:gradFill flip="none" rotWithShape="1">
                <a:gsLst>
                  <a:gs pos="0">
                    <a:schemeClr val="bg2">
                      <a:alpha val="50000"/>
                    </a:schemeClr>
                  </a:gs>
                  <a:gs pos="100000">
                    <a:schemeClr val="bg1">
                      <a:alpha val="10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800" dirty="0"/>
                <a:t>любит читать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2BB95E2B-488A-88E3-4DBD-B49175A5C95F}"/>
                </a:ext>
              </a:extLst>
            </p:cNvPr>
            <p:cNvSpPr/>
            <p:nvPr/>
          </p:nvSpPr>
          <p:spPr>
            <a:xfrm rot="10800000">
              <a:off x="13238436" y="9439980"/>
              <a:ext cx="6740919" cy="3660977"/>
            </a:xfrm>
            <a:prstGeom prst="rect">
              <a:avLst/>
            </a:prstGeom>
            <a:gradFill>
              <a:gsLst>
                <a:gs pos="0">
                  <a:srgbClr val="50595E"/>
                </a:gs>
                <a:gs pos="76000">
                  <a:srgbClr val="292B31">
                    <a:alpha val="0"/>
                  </a:srgbClr>
                </a:gs>
              </a:gsLst>
              <a:lin ang="5400000" scaled="1"/>
            </a:gradFill>
            <a:ln>
              <a:noFill/>
            </a:ln>
            <a:effectLst>
              <a:softEdge rad="5461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endParaRPr lang="en-GB" sz="3200" dirty="0" err="1">
                <a:solidFill>
                  <a:schemeClr val="tx1"/>
                </a:solidFill>
              </a:endParaRPr>
            </a:p>
          </p:txBody>
        </p:sp>
        <p:sp>
          <p:nvSpPr>
            <p:cNvPr id="41" name="Скругленный прямоугольник 26">
              <a:extLst>
                <a:ext uri="{FF2B5EF4-FFF2-40B4-BE49-F238E27FC236}">
                  <a16:creationId xmlns:a16="http://schemas.microsoft.com/office/drawing/2014/main" id="{6A3B49DD-06E2-DA9D-650C-989F34761565}"/>
                </a:ext>
              </a:extLst>
            </p:cNvPr>
            <p:cNvSpPr/>
            <p:nvPr/>
          </p:nvSpPr>
          <p:spPr>
            <a:xfrm>
              <a:off x="18479930" y="7432044"/>
              <a:ext cx="2678869" cy="845032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15177"/>
              </a:schemeClr>
            </a:solidFill>
            <a:ln>
              <a:gradFill flip="none" rotWithShape="1">
                <a:gsLst>
                  <a:gs pos="0">
                    <a:schemeClr val="bg2">
                      <a:alpha val="50000"/>
                    </a:schemeClr>
                  </a:gs>
                  <a:gs pos="100000">
                    <a:schemeClr val="bg1">
                      <a:alpha val="10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800" dirty="0"/>
                <a:t>садоводство</a:t>
              </a:r>
            </a:p>
          </p:txBody>
        </p: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D6FE822C-B439-CAD7-07CC-2A6174B9C012}"/>
                </a:ext>
              </a:extLst>
            </p:cNvPr>
            <p:cNvSpPr/>
            <p:nvPr/>
          </p:nvSpPr>
          <p:spPr>
            <a:xfrm>
              <a:off x="10965993" y="8843615"/>
              <a:ext cx="3975337" cy="3975333"/>
            </a:xfrm>
            <a:prstGeom prst="roundRect">
              <a:avLst/>
            </a:prstGeom>
            <a:gradFill>
              <a:gsLst>
                <a:gs pos="0">
                  <a:schemeClr val="accent5"/>
                </a:gs>
                <a:gs pos="100000">
                  <a:schemeClr val="accent5">
                    <a:alpha val="0"/>
                  </a:schemeClr>
                </a:gs>
              </a:gsLst>
              <a:lin ang="16200000" scaled="1"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l"/>
              <a:endParaRPr lang="ru-RU" sz="3200" dirty="0" err="1">
                <a:solidFill>
                  <a:schemeClr val="tx1"/>
                </a:solidFill>
              </a:endParaRPr>
            </a:p>
          </p:txBody>
        </p:sp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35B68171-E243-D7BB-16C2-38FDE23777C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 b="36578"/>
            <a:stretch/>
          </p:blipFill>
          <p:spPr>
            <a:xfrm rot="21075029">
              <a:off x="9702365" y="9183735"/>
              <a:ext cx="4699907" cy="2980736"/>
            </a:xfrm>
            <a:prstGeom prst="rect">
              <a:avLst/>
            </a:prstGeom>
          </p:spPr>
        </p:pic>
        <p:pic>
          <p:nvPicPr>
            <p:cNvPr id="52" name="Picture 51">
              <a:extLst>
                <a:ext uri="{FF2B5EF4-FFF2-40B4-BE49-F238E27FC236}">
                  <a16:creationId xmlns:a16="http://schemas.microsoft.com/office/drawing/2014/main" id="{0E2B43DC-0EAC-D29B-29FC-0E1684E3945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 l="22192" b="15813"/>
            <a:stretch>
              <a:fillRect/>
            </a:stretch>
          </p:blipFill>
          <p:spPr>
            <a:xfrm rot="21075029">
              <a:off x="10802304" y="9098728"/>
              <a:ext cx="3656918" cy="3956733"/>
            </a:xfrm>
            <a:custGeom>
              <a:avLst/>
              <a:gdLst>
                <a:gd name="connsiteX0" fmla="*/ 3656915 w 3656918"/>
                <a:gd name="connsiteY0" fmla="*/ 0 h 3956733"/>
                <a:gd name="connsiteX1" fmla="*/ 3656918 w 3656918"/>
                <a:gd name="connsiteY1" fmla="*/ 0 h 3956733"/>
                <a:gd name="connsiteX2" fmla="*/ 3656918 w 3656918"/>
                <a:gd name="connsiteY2" fmla="*/ 3838452 h 3956733"/>
                <a:gd name="connsiteX3" fmla="*/ 3564584 w 3656918"/>
                <a:gd name="connsiteY3" fmla="*/ 3893441 h 3956733"/>
                <a:gd name="connsiteX4" fmla="*/ 3181234 w 3656918"/>
                <a:gd name="connsiteY4" fmla="*/ 3948929 h 3956733"/>
                <a:gd name="connsiteX5" fmla="*/ 561876 w 3656918"/>
                <a:gd name="connsiteY5" fmla="*/ 3545794 h 3956733"/>
                <a:gd name="connsiteX6" fmla="*/ 7804 w 3656918"/>
                <a:gd name="connsiteY6" fmla="*/ 2790149 h 3956733"/>
                <a:gd name="connsiteX7" fmla="*/ 410939 w 3656918"/>
                <a:gd name="connsiteY7" fmla="*/ 170795 h 3956733"/>
                <a:gd name="connsiteX8" fmla="*/ 444555 w 3656918"/>
                <a:gd name="connsiteY8" fmla="*/ 40865 h 3956733"/>
                <a:gd name="connsiteX9" fmla="*/ 464482 w 3656918"/>
                <a:gd name="connsiteY9" fmla="*/ 0 h 395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56918" h="3956733">
                  <a:moveTo>
                    <a:pt x="3656915" y="0"/>
                  </a:moveTo>
                  <a:lnTo>
                    <a:pt x="3656918" y="0"/>
                  </a:lnTo>
                  <a:lnTo>
                    <a:pt x="3656918" y="3838452"/>
                  </a:lnTo>
                  <a:lnTo>
                    <a:pt x="3564584" y="3893441"/>
                  </a:lnTo>
                  <a:cubicBezTo>
                    <a:pt x="3449201" y="3947965"/>
                    <a:pt x="3316860" y="3969803"/>
                    <a:pt x="3181234" y="3948929"/>
                  </a:cubicBezTo>
                  <a:lnTo>
                    <a:pt x="561876" y="3545794"/>
                  </a:lnTo>
                  <a:cubicBezTo>
                    <a:pt x="200207" y="3490131"/>
                    <a:pt x="-47859" y="3151817"/>
                    <a:pt x="7804" y="2790149"/>
                  </a:cubicBezTo>
                  <a:lnTo>
                    <a:pt x="410939" y="170795"/>
                  </a:lnTo>
                  <a:cubicBezTo>
                    <a:pt x="417897" y="125586"/>
                    <a:pt x="429271" y="82153"/>
                    <a:pt x="444555" y="40865"/>
                  </a:cubicBezTo>
                  <a:lnTo>
                    <a:pt x="464482" y="0"/>
                  </a:lnTo>
                  <a:close/>
                </a:path>
              </a:pathLst>
            </a:custGeom>
          </p:spPr>
        </p:pic>
        <p:sp>
          <p:nvSpPr>
            <p:cNvPr id="54" name="Скругленный прямоугольник 26">
              <a:extLst>
                <a:ext uri="{FF2B5EF4-FFF2-40B4-BE49-F238E27FC236}">
                  <a16:creationId xmlns:a16="http://schemas.microsoft.com/office/drawing/2014/main" id="{F6BB4F85-2DA8-2F38-79C5-2A4DF65E7808}"/>
                </a:ext>
              </a:extLst>
            </p:cNvPr>
            <p:cNvSpPr/>
            <p:nvPr/>
          </p:nvSpPr>
          <p:spPr>
            <a:xfrm>
              <a:off x="8943945" y="8421099"/>
              <a:ext cx="2678869" cy="845032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15177"/>
              </a:schemeClr>
            </a:solidFill>
            <a:ln>
              <a:gradFill flip="none" rotWithShape="1">
                <a:gsLst>
                  <a:gs pos="0">
                    <a:schemeClr val="bg2">
                      <a:alpha val="50000"/>
                    </a:schemeClr>
                  </a:gs>
                  <a:gs pos="100000">
                    <a:schemeClr val="bg1">
                      <a:alpha val="10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800" dirty="0"/>
                <a:t>спортсмен</a:t>
              </a: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2E375DFC-A837-51A9-B3AD-F8F3C138F475}"/>
              </a:ext>
            </a:extLst>
          </p:cNvPr>
          <p:cNvSpPr txBox="1">
            <a:spLocks/>
          </p:cNvSpPr>
          <p:nvPr/>
        </p:nvSpPr>
        <p:spPr>
          <a:xfrm>
            <a:off x="4589187" y="1819347"/>
            <a:ext cx="15313470" cy="159274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pPr algn="ctr">
              <a:lnSpc>
                <a:spcPct val="77000"/>
              </a:lnSpc>
            </a:pPr>
            <a:r>
              <a:rPr lang="ru-RU" sz="11500" dirty="0">
                <a:gradFill flip="none" rotWithShape="1">
                  <a:gsLst>
                    <a:gs pos="100000">
                      <a:schemeClr val="bg1"/>
                    </a:gs>
                    <a:gs pos="0">
                      <a:schemeClr val="accent3"/>
                    </a:gs>
                  </a:gsLst>
                  <a:lin ang="0" scaled="1"/>
                  <a:tileRect/>
                </a:gradFill>
                <a:latin typeface="+mj-lt"/>
                <a:ea typeface="Yango Text" panose="020B0504020202020204" pitchFamily="34" charset="-79"/>
                <a:cs typeface="Yango Text" panose="020B0504020202020204" pitchFamily="34" charset="-79"/>
              </a:rPr>
              <a:t>как работать с теми, кого мы избаловали</a:t>
            </a:r>
            <a:endParaRPr lang="ru-RU" sz="6600" dirty="0">
              <a:gradFill flip="none" rotWithShape="1">
                <a:gsLst>
                  <a:gs pos="100000">
                    <a:schemeClr val="bg1"/>
                  </a:gs>
                  <a:gs pos="0">
                    <a:schemeClr val="accent3"/>
                  </a:gs>
                </a:gsLst>
                <a:lin ang="0" scaled="1"/>
                <a:tileRect/>
              </a:gradFill>
              <a:latin typeface="+mj-lt"/>
              <a:ea typeface="Yango Text" panose="020B0504020202020204" pitchFamily="34" charset="-79"/>
              <a:cs typeface="Yango Text" panose="020B0504020202020204" pitchFamily="34" charset="-79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0F8695A-EDBF-904D-2797-80291D4C59DF}"/>
              </a:ext>
            </a:extLst>
          </p:cNvPr>
          <p:cNvSpPr txBox="1">
            <a:spLocks/>
          </p:cNvSpPr>
          <p:nvPr/>
        </p:nvSpPr>
        <p:spPr>
          <a:xfrm>
            <a:off x="4589187" y="615043"/>
            <a:ext cx="15313470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pPr algn="ctr">
              <a:lnSpc>
                <a:spcPct val="90000"/>
              </a:lnSpc>
            </a:pPr>
            <a:r>
              <a:rPr lang="ru-RU" sz="4000" dirty="0">
                <a:gradFill flip="none" rotWithShape="1">
                  <a:gsLst>
                    <a:gs pos="100000">
                      <a:schemeClr val="bg1"/>
                    </a:gs>
                    <a:gs pos="0">
                      <a:schemeClr val="accent3"/>
                    </a:gs>
                  </a:gsLst>
                  <a:lin ang="0" scaled="1"/>
                  <a:tileRect/>
                </a:gradFill>
                <a:latin typeface="+mj-lt"/>
                <a:ea typeface="Yango Text" panose="020B0504020202020204" pitchFamily="34" charset="-79"/>
                <a:cs typeface="Yango Text" panose="020B0504020202020204" pitchFamily="34" charset="-79"/>
              </a:rPr>
              <a:t>теперь ваша очередь</a:t>
            </a:r>
          </a:p>
        </p:txBody>
      </p:sp>
      <p:pic>
        <p:nvPicPr>
          <p:cNvPr id="58" name="Рисунок 51" descr="Изображение выглядит как снимок экрана, Прямоугольник, свет, искусство&#10;&#10;Содержимое, созданное искусственным интеллектом, может быть неверным.">
            <a:extLst>
              <a:ext uri="{FF2B5EF4-FFF2-40B4-BE49-F238E27FC236}">
                <a16:creationId xmlns:a16="http://schemas.microsoft.com/office/drawing/2014/main" id="{992E7EB0-6A20-8D11-461A-0DED179A963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73" t="63380" r="12859"/>
          <a:stretch/>
        </p:blipFill>
        <p:spPr>
          <a:xfrm flipV="1">
            <a:off x="0" y="6396261"/>
            <a:ext cx="24382412" cy="7319737"/>
          </a:xfrm>
          <a:prstGeom prst="rect">
            <a:avLst/>
          </a:prstGeom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2FB075C7-7470-9880-582A-C4483BBB63F4}"/>
              </a:ext>
            </a:extLst>
          </p:cNvPr>
          <p:cNvGrpSpPr/>
          <p:nvPr/>
        </p:nvGrpSpPr>
        <p:grpSpPr>
          <a:xfrm>
            <a:off x="1651782" y="5649692"/>
            <a:ext cx="5925095" cy="8066309"/>
            <a:chOff x="1740273" y="5649692"/>
            <a:chExt cx="5925095" cy="8066309"/>
          </a:xfrm>
        </p:grpSpPr>
        <p:cxnSp>
          <p:nvCxnSpPr>
            <p:cNvPr id="22" name="Прямая соединительная линия 41">
              <a:extLst>
                <a:ext uri="{FF2B5EF4-FFF2-40B4-BE49-F238E27FC236}">
                  <a16:creationId xmlns:a16="http://schemas.microsoft.com/office/drawing/2014/main" id="{8E3F81A8-EF81-BA46-D5D2-E84510563C1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40273" y="5649693"/>
              <a:ext cx="0" cy="8066308"/>
            </a:xfrm>
            <a:prstGeom prst="line">
              <a:avLst/>
            </a:prstGeom>
            <a:ln w="31750" cap="sq" cmpd="sng">
              <a:gradFill flip="none" rotWithShape="1">
                <a:gsLst>
                  <a:gs pos="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5400000" scaled="1"/>
                <a:tileRect/>
              </a:gradFill>
              <a:prstDash val="solid"/>
              <a:bevel/>
              <a:headEnd type="none" w="med" len="med"/>
              <a:tailEnd type="none" w="med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462C1B43-4ABF-41D9-A900-DCD2B40747D4}"/>
                </a:ext>
              </a:extLst>
            </p:cNvPr>
            <p:cNvGrpSpPr/>
            <p:nvPr/>
          </p:nvGrpSpPr>
          <p:grpSpPr>
            <a:xfrm>
              <a:off x="2330209" y="5649692"/>
              <a:ext cx="5335159" cy="5267760"/>
              <a:chOff x="1898207" y="5649692"/>
              <a:chExt cx="5335159" cy="5267760"/>
            </a:xfrm>
          </p:grpSpPr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8B4547E7-6498-817C-4C59-568D6F9BEE7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898208" y="10031055"/>
                <a:ext cx="5335158" cy="88639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800"/>
                  </a:spcAft>
                </a:pPr>
                <a:r>
                  <a:rPr lang="ru-RU" sz="3200" dirty="0">
                    <a:solidFill>
                      <a:schemeClr val="bg1">
                        <a:lumMod val="85000"/>
                      </a:schemeClr>
                    </a:solidFill>
                  </a:rPr>
                  <a:t>чтобы точнее попадать </a:t>
                </a:r>
                <a:br>
                  <a:rPr lang="ru-RU" sz="3200" dirty="0">
                    <a:solidFill>
                      <a:schemeClr val="bg1">
                        <a:lumMod val="85000"/>
                      </a:schemeClr>
                    </a:solidFill>
                  </a:rPr>
                </a:br>
                <a:r>
                  <a:rPr lang="ru-RU" sz="3200" dirty="0">
                    <a:solidFill>
                      <a:schemeClr val="bg1">
                        <a:lumMod val="85000"/>
                      </a:schemeClr>
                    </a:solidFill>
                  </a:rPr>
                  <a:t>в запросы разных аудиторий</a:t>
                </a: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AF057E1A-4985-2ADA-E755-85EAA3FE056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898208" y="6670436"/>
                <a:ext cx="5335158" cy="1630575"/>
              </a:xfrm>
              <a:prstGeom prst="rect">
                <a:avLst/>
              </a:prstGeom>
              <a:noFill/>
              <a:ln/>
            </p:spPr>
            <p:txBody>
              <a:bodyPr wrap="square" lIns="0" tIns="0" rIns="0" bIns="0" rtlCol="0" anchor="t">
                <a:noAutofit/>
              </a:bodyPr>
              <a:lstStyle>
                <a:defPPr>
                  <a:defRPr lang="ru-RU"/>
                </a:defPPr>
                <a:lvl1pPr defTabSz="914217">
                  <a:lnSpc>
                    <a:spcPct val="80000"/>
                  </a:lnSpc>
                  <a:defRPr sz="4000" kern="0" spc="43">
                    <a:solidFill>
                      <a:schemeClr val="bg1"/>
                    </a:solidFill>
                    <a:latin typeface="YS Geo Medium" pitchFamily="34" charset="0"/>
                    <a:cs typeface="YS Geo Medium" pitchFamily="34" charset="-120"/>
                  </a:defRPr>
                </a:lvl1pPr>
              </a:lstStyle>
              <a:p>
                <a:r>
                  <a:rPr lang="ru-RU" sz="4400" dirty="0"/>
                  <a:t>таргетируйте </a:t>
                </a:r>
                <a:br>
                  <a:rPr lang="en-US" sz="4400" dirty="0"/>
                </a:br>
                <a:r>
                  <a:rPr lang="ru-RU" sz="4400" dirty="0"/>
                  <a:t>по поведению, </a:t>
                </a:r>
                <a:br>
                  <a:rPr lang="en-US" sz="4400" dirty="0"/>
                </a:br>
                <a:r>
                  <a:rPr lang="ru-RU" sz="4400" dirty="0"/>
                  <a:t>а не по демографии</a:t>
                </a:r>
              </a:p>
            </p:txBody>
          </p:sp>
          <p:sp>
            <p:nvSpPr>
              <p:cNvPr id="14" name="Oval 7">
                <a:extLst>
                  <a:ext uri="{FF2B5EF4-FFF2-40B4-BE49-F238E27FC236}">
                    <a16:creationId xmlns:a16="http://schemas.microsoft.com/office/drawing/2014/main" id="{59C428B6-AF9D-68FF-33DC-6546390DEFFB}"/>
                  </a:ext>
                </a:extLst>
              </p:cNvPr>
              <p:cNvSpPr/>
              <p:nvPr/>
            </p:nvSpPr>
            <p:spPr>
              <a:xfrm>
                <a:off x="1898207" y="5649692"/>
                <a:ext cx="697620" cy="697620"/>
              </a:xfrm>
              <a:prstGeom prst="ellips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3200" dirty="0">
                    <a:solidFill>
                      <a:schemeClr val="bg1"/>
                    </a:solidFill>
                    <a:latin typeface="+mj-lt"/>
                  </a:rPr>
                  <a:t>1</a:t>
                </a:r>
              </a:p>
            </p:txBody>
          </p:sp>
        </p:grp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DC2C58E9-764B-CD41-821F-A810471E3C0E}"/>
              </a:ext>
            </a:extLst>
          </p:cNvPr>
          <p:cNvGrpSpPr/>
          <p:nvPr/>
        </p:nvGrpSpPr>
        <p:grpSpPr>
          <a:xfrm>
            <a:off x="14985657" y="13612256"/>
            <a:ext cx="9102693" cy="9858114"/>
            <a:chOff x="14985657" y="3239588"/>
            <a:chExt cx="9102693" cy="9858114"/>
          </a:xfrm>
        </p:grpSpPr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7F989813-4667-7BE2-65D1-661257DB284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rcRect b="33274"/>
            <a:stretch/>
          </p:blipFill>
          <p:spPr>
            <a:xfrm>
              <a:off x="17061666" y="3239588"/>
              <a:ext cx="7026684" cy="4688602"/>
            </a:xfrm>
            <a:prstGeom prst="rect">
              <a:avLst/>
            </a:prstGeom>
          </p:spPr>
        </p:pic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E022526A-2E2B-6C6F-81E4-FA0D2405383A}"/>
                </a:ext>
              </a:extLst>
            </p:cNvPr>
            <p:cNvGrpSpPr/>
            <p:nvPr/>
          </p:nvGrpSpPr>
          <p:grpSpPr>
            <a:xfrm>
              <a:off x="14985657" y="4895030"/>
              <a:ext cx="7999596" cy="8202672"/>
              <a:chOff x="14985657" y="4895030"/>
              <a:chExt cx="7999596" cy="8202672"/>
            </a:xfrm>
          </p:grpSpPr>
          <p:grpSp>
            <p:nvGrpSpPr>
              <p:cNvPr id="65" name="Group 64">
                <a:extLst>
                  <a:ext uri="{FF2B5EF4-FFF2-40B4-BE49-F238E27FC236}">
                    <a16:creationId xmlns:a16="http://schemas.microsoft.com/office/drawing/2014/main" id="{A4905695-B8E7-D8B1-2FB7-56B43BEA6E0F}"/>
                  </a:ext>
                </a:extLst>
              </p:cNvPr>
              <p:cNvGrpSpPr/>
              <p:nvPr/>
            </p:nvGrpSpPr>
            <p:grpSpPr>
              <a:xfrm>
                <a:off x="14985657" y="8326797"/>
                <a:ext cx="5827380" cy="4601029"/>
                <a:chOff x="789724" y="8094878"/>
                <a:chExt cx="5827380" cy="4601029"/>
              </a:xfrm>
            </p:grpSpPr>
            <p:pic>
              <p:nvPicPr>
                <p:cNvPr id="88" name="Picture 87">
                  <a:extLst>
                    <a:ext uri="{FF2B5EF4-FFF2-40B4-BE49-F238E27FC236}">
                      <a16:creationId xmlns:a16="http://schemas.microsoft.com/office/drawing/2014/main" id="{92DDF28A-3B14-5E2D-483E-BC653F0666E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/>
                <a:srcRect l="37472" t="42877" b="4445"/>
                <a:stretch/>
              </p:blipFill>
              <p:spPr>
                <a:xfrm>
                  <a:off x="1792817" y="8210069"/>
                  <a:ext cx="4824287" cy="4485838"/>
                </a:xfrm>
                <a:custGeom>
                  <a:avLst/>
                  <a:gdLst>
                    <a:gd name="connsiteX0" fmla="*/ 2303438 w 4824287"/>
                    <a:gd name="connsiteY0" fmla="*/ 0 h 4485838"/>
                    <a:gd name="connsiteX1" fmla="*/ 2303438 w 4824287"/>
                    <a:gd name="connsiteY1" fmla="*/ 1700466 h 4485838"/>
                    <a:gd name="connsiteX2" fmla="*/ 4532421 w 4824287"/>
                    <a:gd name="connsiteY2" fmla="*/ 1700466 h 4485838"/>
                    <a:gd name="connsiteX3" fmla="*/ 4824287 w 4824287"/>
                    <a:gd name="connsiteY3" fmla="*/ 3167164 h 4485838"/>
                    <a:gd name="connsiteX4" fmla="*/ 4824287 w 4824287"/>
                    <a:gd name="connsiteY4" fmla="*/ 3470510 h 4485838"/>
                    <a:gd name="connsiteX5" fmla="*/ 4784461 w 4824287"/>
                    <a:gd name="connsiteY5" fmla="*/ 3598868 h 4485838"/>
                    <a:gd name="connsiteX6" fmla="*/ 4259369 w 4824287"/>
                    <a:gd name="connsiteY6" fmla="*/ 4027946 h 4485838"/>
                    <a:gd name="connsiteX7" fmla="*/ 1958353 w 4824287"/>
                    <a:gd name="connsiteY7" fmla="*/ 4485838 h 4485838"/>
                    <a:gd name="connsiteX8" fmla="*/ 888460 w 4824287"/>
                    <a:gd name="connsiteY8" fmla="*/ 4485838 h 4485838"/>
                    <a:gd name="connsiteX9" fmla="*/ 884758 w 4824287"/>
                    <a:gd name="connsiteY9" fmla="*/ 4483847 h 4485838"/>
                    <a:gd name="connsiteX10" fmla="*/ 577694 w 4824287"/>
                    <a:gd name="connsiteY10" fmla="*/ 4024373 h 4485838"/>
                    <a:gd name="connsiteX11" fmla="*/ 14024 w 4824287"/>
                    <a:gd name="connsiteY11" fmla="*/ 1191791 h 4485838"/>
                    <a:gd name="connsiteX12" fmla="*/ 581269 w 4824287"/>
                    <a:gd name="connsiteY12" fmla="*/ 342703 h 44858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824287" h="4485838">
                      <a:moveTo>
                        <a:pt x="2303438" y="0"/>
                      </a:moveTo>
                      <a:lnTo>
                        <a:pt x="2303438" y="1700466"/>
                      </a:lnTo>
                      <a:lnTo>
                        <a:pt x="4532421" y="1700466"/>
                      </a:lnTo>
                      <a:lnTo>
                        <a:pt x="4824287" y="3167164"/>
                      </a:lnTo>
                      <a:lnTo>
                        <a:pt x="4824287" y="3470510"/>
                      </a:lnTo>
                      <a:lnTo>
                        <a:pt x="4784461" y="3598868"/>
                      </a:lnTo>
                      <a:cubicBezTo>
                        <a:pt x="4694684" y="3812566"/>
                        <a:pt x="4503813" y="3979303"/>
                        <a:pt x="4259369" y="4027946"/>
                      </a:cubicBezTo>
                      <a:lnTo>
                        <a:pt x="1958353" y="4485838"/>
                      </a:lnTo>
                      <a:lnTo>
                        <a:pt x="888460" y="4485838"/>
                      </a:lnTo>
                      <a:lnTo>
                        <a:pt x="884758" y="4483847"/>
                      </a:lnTo>
                      <a:cubicBezTo>
                        <a:pt x="731104" y="4381196"/>
                        <a:pt x="616609" y="4219928"/>
                        <a:pt x="577694" y="4024373"/>
                      </a:cubicBezTo>
                      <a:lnTo>
                        <a:pt x="14024" y="1191791"/>
                      </a:lnTo>
                      <a:cubicBezTo>
                        <a:pt x="-63805" y="800682"/>
                        <a:pt x="190160" y="420531"/>
                        <a:pt x="581269" y="342703"/>
                      </a:cubicBezTo>
                      <a:close/>
                    </a:path>
                  </a:pathLst>
                </a:custGeom>
              </p:spPr>
            </p:pic>
            <p:sp>
              <p:nvSpPr>
                <p:cNvPr id="89" name="Rectangle: Rounded Corners 88">
                  <a:extLst>
                    <a:ext uri="{FF2B5EF4-FFF2-40B4-BE49-F238E27FC236}">
                      <a16:creationId xmlns:a16="http://schemas.microsoft.com/office/drawing/2014/main" id="{DFD73C61-26C3-FF2F-3F43-F410DA5B2920}"/>
                    </a:ext>
                  </a:extLst>
                </p:cNvPr>
                <p:cNvSpPr/>
                <p:nvPr/>
              </p:nvSpPr>
              <p:spPr>
                <a:xfrm rot="20924726">
                  <a:off x="2047054" y="8229281"/>
                  <a:ext cx="4332230" cy="4332225"/>
                </a:xfrm>
                <a:prstGeom prst="roundRect">
                  <a:avLst/>
                </a:prstGeom>
                <a:solidFill>
                  <a:schemeClr val="accent3">
                    <a:alpha val="7000"/>
                  </a:schemeClr>
                </a:solidFill>
                <a:ln>
                  <a:gradFill flip="none" rotWithShape="1">
                    <a:gsLst>
                      <a:gs pos="0">
                        <a:schemeClr val="bg2">
                          <a:alpha val="21000"/>
                        </a:schemeClr>
                      </a:gs>
                      <a:gs pos="100000">
                        <a:schemeClr val="bg1">
                          <a:alpha val="10000"/>
                        </a:schemeClr>
                      </a:gs>
                    </a:gsLst>
                    <a:lin ang="0" scaled="1"/>
                    <a:tileRect/>
                  </a:gra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ru-RU" sz="2800" dirty="0" err="1"/>
                </a:p>
              </p:txBody>
            </p:sp>
            <p:pic>
              <p:nvPicPr>
                <p:cNvPr id="90" name="Picture 89">
                  <a:extLst>
                    <a:ext uri="{FF2B5EF4-FFF2-40B4-BE49-F238E27FC236}">
                      <a16:creationId xmlns:a16="http://schemas.microsoft.com/office/drawing/2014/main" id="{0F37D5D1-ECC7-5D00-CF46-DA3BE58D5B6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/>
                <a:srcRect l="24471" t="41524" r="16474" b="4445"/>
                <a:stretch/>
              </p:blipFill>
              <p:spPr>
                <a:xfrm>
                  <a:off x="789724" y="8094878"/>
                  <a:ext cx="4556299" cy="4601029"/>
                </a:xfrm>
                <a:custGeom>
                  <a:avLst/>
                  <a:gdLst>
                    <a:gd name="connsiteX0" fmla="*/ 0 w 5827413"/>
                    <a:gd name="connsiteY0" fmla="*/ 0 h 4601029"/>
                    <a:gd name="connsiteX1" fmla="*/ 3306564 w 5827413"/>
                    <a:gd name="connsiteY1" fmla="*/ 0 h 4601029"/>
                    <a:gd name="connsiteX2" fmla="*/ 3306564 w 5827413"/>
                    <a:gd name="connsiteY2" fmla="*/ 1815657 h 4601029"/>
                    <a:gd name="connsiteX3" fmla="*/ 5827413 w 5827413"/>
                    <a:gd name="connsiteY3" fmla="*/ 1815657 h 4601029"/>
                    <a:gd name="connsiteX4" fmla="*/ 5827413 w 5827413"/>
                    <a:gd name="connsiteY4" fmla="*/ 4601029 h 4601029"/>
                    <a:gd name="connsiteX5" fmla="*/ 0 w 5827413"/>
                    <a:gd name="connsiteY5" fmla="*/ 4601029 h 46010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827413" h="4601029">
                      <a:moveTo>
                        <a:pt x="0" y="0"/>
                      </a:moveTo>
                      <a:lnTo>
                        <a:pt x="3306564" y="0"/>
                      </a:lnTo>
                      <a:lnTo>
                        <a:pt x="3306564" y="1815657"/>
                      </a:lnTo>
                      <a:lnTo>
                        <a:pt x="5827413" y="1815657"/>
                      </a:lnTo>
                      <a:lnTo>
                        <a:pt x="5827413" y="4601029"/>
                      </a:lnTo>
                      <a:lnTo>
                        <a:pt x="0" y="4601029"/>
                      </a:lnTo>
                      <a:close/>
                    </a:path>
                  </a:pathLst>
                </a:custGeom>
              </p:spPr>
            </p:pic>
          </p:grpSp>
          <p:sp>
            <p:nvSpPr>
              <p:cNvPr id="66" name="Rectangle: Rounded Corners 65">
                <a:extLst>
                  <a:ext uri="{FF2B5EF4-FFF2-40B4-BE49-F238E27FC236}">
                    <a16:creationId xmlns:a16="http://schemas.microsoft.com/office/drawing/2014/main" id="{07A2775D-F3B9-9D3C-5E03-3B8AADB8F670}"/>
                  </a:ext>
                </a:extLst>
              </p:cNvPr>
              <p:cNvSpPr/>
              <p:nvPr/>
            </p:nvSpPr>
            <p:spPr>
              <a:xfrm rot="376400">
                <a:off x="17843463" y="5349067"/>
                <a:ext cx="4763066" cy="4763061"/>
              </a:xfrm>
              <a:prstGeom prst="roundRect">
                <a:avLst/>
              </a:prstGeom>
              <a:gradFill>
                <a:gsLst>
                  <a:gs pos="0">
                    <a:schemeClr val="accent5"/>
                  </a:gs>
                  <a:gs pos="100000">
                    <a:schemeClr val="accent5">
                      <a:alpha val="0"/>
                    </a:schemeClr>
                  </a:gs>
                </a:gsLst>
                <a:lin ang="16200000" scaled="1"/>
              </a:gra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t"/>
              <a:lstStyle/>
              <a:p>
                <a:endParaRPr lang="ru-RU" sz="3200" dirty="0" err="1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67" name="Group 66">
                <a:extLst>
                  <a:ext uri="{FF2B5EF4-FFF2-40B4-BE49-F238E27FC236}">
                    <a16:creationId xmlns:a16="http://schemas.microsoft.com/office/drawing/2014/main" id="{963294AB-5B65-5F53-4E92-C6B90153216C}"/>
                  </a:ext>
                </a:extLst>
              </p:cNvPr>
              <p:cNvGrpSpPr/>
              <p:nvPr/>
            </p:nvGrpSpPr>
            <p:grpSpPr>
              <a:xfrm rot="20650298">
                <a:off x="17136246" y="4895030"/>
                <a:ext cx="2345193" cy="769760"/>
                <a:chOff x="19442665" y="3889829"/>
                <a:chExt cx="1849792" cy="607155"/>
              </a:xfrm>
            </p:grpSpPr>
            <p:sp>
              <p:nvSpPr>
                <p:cNvPr id="81" name="Скругленный прямоугольник 26">
                  <a:extLst>
                    <a:ext uri="{FF2B5EF4-FFF2-40B4-BE49-F238E27FC236}">
                      <a16:creationId xmlns:a16="http://schemas.microsoft.com/office/drawing/2014/main" id="{950D1367-4433-01D2-6800-EF8D38E964F9}"/>
                    </a:ext>
                  </a:extLst>
                </p:cNvPr>
                <p:cNvSpPr/>
                <p:nvPr/>
              </p:nvSpPr>
              <p:spPr>
                <a:xfrm>
                  <a:off x="19442665" y="3889829"/>
                  <a:ext cx="1849792" cy="607155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accent4"/>
                </a:solidFill>
                <a:ln>
                  <a:gradFill flip="none" rotWithShape="1">
                    <a:gsLst>
                      <a:gs pos="0">
                        <a:schemeClr val="bg2">
                          <a:alpha val="50000"/>
                        </a:schemeClr>
                      </a:gs>
                      <a:gs pos="100000">
                        <a:schemeClr val="bg1">
                          <a:alpha val="10000"/>
                        </a:schemeClr>
                      </a:gs>
                    </a:gsLst>
                    <a:lin ang="0" scaled="1"/>
                    <a:tileRect/>
                  </a:gra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sz="2800" dirty="0"/>
                </a:p>
              </p:txBody>
            </p:sp>
            <p:grpSp>
              <p:nvGrpSpPr>
                <p:cNvPr id="82" name="Group 81">
                  <a:extLst>
                    <a:ext uri="{FF2B5EF4-FFF2-40B4-BE49-F238E27FC236}">
                      <a16:creationId xmlns:a16="http://schemas.microsoft.com/office/drawing/2014/main" id="{7057C76C-9E7C-87A8-E997-8597B093DC94}"/>
                    </a:ext>
                  </a:extLst>
                </p:cNvPr>
                <p:cNvGrpSpPr/>
                <p:nvPr/>
              </p:nvGrpSpPr>
              <p:grpSpPr>
                <a:xfrm>
                  <a:off x="19660772" y="4078514"/>
                  <a:ext cx="1413578" cy="211326"/>
                  <a:chOff x="19337963" y="3865656"/>
                  <a:chExt cx="2621696" cy="391936"/>
                </a:xfrm>
              </p:grpSpPr>
              <p:pic>
                <p:nvPicPr>
                  <p:cNvPr id="83" name="Graphic 82">
                    <a:extLst>
                      <a:ext uri="{FF2B5EF4-FFF2-40B4-BE49-F238E27FC236}">
                        <a16:creationId xmlns:a16="http://schemas.microsoft.com/office/drawing/2014/main" id="{3B64B292-3767-A233-D9D6-38945234465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2">
                    <a:extLst>
                      <a:ext uri="{96DAC541-7B7A-43D3-8B79-37D633B846F1}">
                        <asvg:svgBlip xmlns:asvg="http://schemas.microsoft.com/office/drawing/2016/SVG/main" r:embed="rId13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9337963" y="3865656"/>
                    <a:ext cx="407986" cy="391936"/>
                  </a:xfrm>
                  <a:prstGeom prst="rect">
                    <a:avLst/>
                  </a:prstGeom>
                </p:spPr>
              </p:pic>
              <p:pic>
                <p:nvPicPr>
                  <p:cNvPr id="84" name="Graphic 83">
                    <a:extLst>
                      <a:ext uri="{FF2B5EF4-FFF2-40B4-BE49-F238E27FC236}">
                        <a16:creationId xmlns:a16="http://schemas.microsoft.com/office/drawing/2014/main" id="{9D0098D4-ABBE-B141-6189-6E177C1CF2D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2">
                    <a:extLst>
                      <a:ext uri="{96DAC541-7B7A-43D3-8B79-37D633B846F1}">
                        <asvg:svgBlip xmlns:asvg="http://schemas.microsoft.com/office/drawing/2016/SVG/main" r:embed="rId13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9891390" y="3865656"/>
                    <a:ext cx="407986" cy="391936"/>
                  </a:xfrm>
                  <a:prstGeom prst="rect">
                    <a:avLst/>
                  </a:prstGeom>
                </p:spPr>
              </p:pic>
              <p:pic>
                <p:nvPicPr>
                  <p:cNvPr id="85" name="Graphic 84">
                    <a:extLst>
                      <a:ext uri="{FF2B5EF4-FFF2-40B4-BE49-F238E27FC236}">
                        <a16:creationId xmlns:a16="http://schemas.microsoft.com/office/drawing/2014/main" id="{12798DD2-1714-33A9-EE1A-37DCA3E7BD7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2">
                    <a:extLst>
                      <a:ext uri="{96DAC541-7B7A-43D3-8B79-37D633B846F1}">
                        <asvg:svgBlip xmlns:asvg="http://schemas.microsoft.com/office/drawing/2016/SVG/main" r:embed="rId13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20444817" y="3865656"/>
                    <a:ext cx="407986" cy="391936"/>
                  </a:xfrm>
                  <a:prstGeom prst="rect">
                    <a:avLst/>
                  </a:prstGeom>
                </p:spPr>
              </p:pic>
              <p:pic>
                <p:nvPicPr>
                  <p:cNvPr id="86" name="Graphic 85">
                    <a:extLst>
                      <a:ext uri="{FF2B5EF4-FFF2-40B4-BE49-F238E27FC236}">
                        <a16:creationId xmlns:a16="http://schemas.microsoft.com/office/drawing/2014/main" id="{09B20D13-6717-1AF5-87E1-B31578264DA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2">
                    <a:extLst>
                      <a:ext uri="{96DAC541-7B7A-43D3-8B79-37D633B846F1}">
                        <asvg:svgBlip xmlns:asvg="http://schemas.microsoft.com/office/drawing/2016/SVG/main" r:embed="rId13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20998244" y="3865656"/>
                    <a:ext cx="407986" cy="391936"/>
                  </a:xfrm>
                  <a:prstGeom prst="rect">
                    <a:avLst/>
                  </a:prstGeom>
                </p:spPr>
              </p:pic>
              <p:pic>
                <p:nvPicPr>
                  <p:cNvPr id="87" name="Graphic 86">
                    <a:extLst>
                      <a:ext uri="{FF2B5EF4-FFF2-40B4-BE49-F238E27FC236}">
                        <a16:creationId xmlns:a16="http://schemas.microsoft.com/office/drawing/2014/main" id="{9771FAFE-31B8-952E-9A1A-76D9A5D537A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2">
                    <a:extLst>
                      <a:ext uri="{96DAC541-7B7A-43D3-8B79-37D633B846F1}">
                        <asvg:svgBlip xmlns:asvg="http://schemas.microsoft.com/office/drawing/2016/SVG/main" r:embed="rId13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21551673" y="3865656"/>
                    <a:ext cx="407986" cy="391936"/>
                  </a:xfrm>
                  <a:prstGeom prst="rect">
                    <a:avLst/>
                  </a:prstGeom>
                </p:spPr>
              </p:pic>
            </p:grpSp>
          </p:grpSp>
          <p:grpSp>
            <p:nvGrpSpPr>
              <p:cNvPr id="68" name="Group 67">
                <a:extLst>
                  <a:ext uri="{FF2B5EF4-FFF2-40B4-BE49-F238E27FC236}">
                    <a16:creationId xmlns:a16="http://schemas.microsoft.com/office/drawing/2014/main" id="{1B45388C-1970-A8C2-507A-23CEFD5C5F8D}"/>
                  </a:ext>
                </a:extLst>
              </p:cNvPr>
              <p:cNvGrpSpPr/>
              <p:nvPr/>
            </p:nvGrpSpPr>
            <p:grpSpPr>
              <a:xfrm>
                <a:off x="15988148" y="12327942"/>
                <a:ext cx="2345193" cy="769760"/>
                <a:chOff x="15988148" y="12327942"/>
                <a:chExt cx="2345193" cy="769760"/>
              </a:xfrm>
            </p:grpSpPr>
            <p:sp>
              <p:nvSpPr>
                <p:cNvPr id="75" name="Скругленный прямоугольник 26">
                  <a:extLst>
                    <a:ext uri="{FF2B5EF4-FFF2-40B4-BE49-F238E27FC236}">
                      <a16:creationId xmlns:a16="http://schemas.microsoft.com/office/drawing/2014/main" id="{3B4B3709-C1DD-A72A-F467-271EB26FC2B2}"/>
                    </a:ext>
                  </a:extLst>
                </p:cNvPr>
                <p:cNvSpPr/>
                <p:nvPr/>
              </p:nvSpPr>
              <p:spPr>
                <a:xfrm rot="669635">
                  <a:off x="15988148" y="12327942"/>
                  <a:ext cx="2345193" cy="769760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accent4"/>
                </a:solidFill>
                <a:ln>
                  <a:gradFill flip="none" rotWithShape="1">
                    <a:gsLst>
                      <a:gs pos="0">
                        <a:schemeClr val="bg2">
                          <a:alpha val="50000"/>
                        </a:schemeClr>
                      </a:gs>
                      <a:gs pos="100000">
                        <a:schemeClr val="bg1">
                          <a:alpha val="10000"/>
                        </a:schemeClr>
                      </a:gs>
                    </a:gsLst>
                    <a:lin ang="0" scaled="1"/>
                    <a:tileRect/>
                  </a:gra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sz="2800" dirty="0"/>
                </a:p>
              </p:txBody>
            </p:sp>
            <p:pic>
              <p:nvPicPr>
                <p:cNvPr id="76" name="Graphic 75">
                  <a:extLst>
                    <a:ext uri="{FF2B5EF4-FFF2-40B4-BE49-F238E27FC236}">
                      <a16:creationId xmlns:a16="http://schemas.microsoft.com/office/drawing/2014/main" id="{FF46732A-B7C2-A69B-17B3-25F7D54E881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  <a:stretch>
                  <a:fillRect/>
                </a:stretch>
              </p:blipFill>
              <p:spPr>
                <a:xfrm rot="669635">
                  <a:off x="16281241" y="12420928"/>
                  <a:ext cx="278894" cy="267922"/>
                </a:xfrm>
                <a:prstGeom prst="rect">
                  <a:avLst/>
                </a:prstGeom>
              </p:spPr>
            </p:pic>
            <p:pic>
              <p:nvPicPr>
                <p:cNvPr id="77" name="Graphic 76">
                  <a:extLst>
                    <a:ext uri="{FF2B5EF4-FFF2-40B4-BE49-F238E27FC236}">
                      <a16:creationId xmlns:a16="http://schemas.microsoft.com/office/drawing/2014/main" id="{8557D55F-29AF-7FD1-D744-1EFFD343711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4">
                  <a:extLst>
                    <a:ext uri="{96DAC541-7B7A-43D3-8B79-37D633B846F1}">
                      <asvg:svgBlip xmlns:asvg="http://schemas.microsoft.com/office/drawing/2016/SVG/main" r:embed="rId15"/>
                    </a:ext>
                  </a:extLst>
                </a:blip>
                <a:stretch>
                  <a:fillRect/>
                </a:stretch>
              </p:blipFill>
              <p:spPr>
                <a:xfrm rot="669635">
                  <a:off x="16652402" y="12494154"/>
                  <a:ext cx="278894" cy="267922"/>
                </a:xfrm>
                <a:prstGeom prst="rect">
                  <a:avLst/>
                </a:prstGeom>
              </p:spPr>
            </p:pic>
            <p:pic>
              <p:nvPicPr>
                <p:cNvPr id="78" name="Graphic 77">
                  <a:extLst>
                    <a:ext uri="{FF2B5EF4-FFF2-40B4-BE49-F238E27FC236}">
                      <a16:creationId xmlns:a16="http://schemas.microsoft.com/office/drawing/2014/main" id="{CFFB3F0D-AC0D-772D-58D1-54584459356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4">
                  <a:extLst>
                    <a:ext uri="{96DAC541-7B7A-43D3-8B79-37D633B846F1}">
                      <asvg:svgBlip xmlns:asvg="http://schemas.microsoft.com/office/drawing/2016/SVG/main" r:embed="rId15"/>
                    </a:ext>
                  </a:extLst>
                </a:blip>
                <a:stretch>
                  <a:fillRect/>
                </a:stretch>
              </p:blipFill>
              <p:spPr>
                <a:xfrm rot="669635">
                  <a:off x="17023562" y="12567381"/>
                  <a:ext cx="278894" cy="267922"/>
                </a:xfrm>
                <a:prstGeom prst="rect">
                  <a:avLst/>
                </a:prstGeom>
              </p:spPr>
            </p:pic>
            <p:pic>
              <p:nvPicPr>
                <p:cNvPr id="79" name="Graphic 78">
                  <a:extLst>
                    <a:ext uri="{FF2B5EF4-FFF2-40B4-BE49-F238E27FC236}">
                      <a16:creationId xmlns:a16="http://schemas.microsoft.com/office/drawing/2014/main" id="{E844682E-DD21-EEEB-94C5-9CF73CC22B2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4">
                  <a:extLst>
                    <a:ext uri="{96DAC541-7B7A-43D3-8B79-37D633B846F1}">
                      <asvg:svgBlip xmlns:asvg="http://schemas.microsoft.com/office/drawing/2016/SVG/main" r:embed="rId15"/>
                    </a:ext>
                  </a:extLst>
                </a:blip>
                <a:stretch>
                  <a:fillRect/>
                </a:stretch>
              </p:blipFill>
              <p:spPr>
                <a:xfrm rot="669635">
                  <a:off x="17394723" y="12640607"/>
                  <a:ext cx="278894" cy="267922"/>
                </a:xfrm>
                <a:prstGeom prst="rect">
                  <a:avLst/>
                </a:prstGeom>
              </p:spPr>
            </p:pic>
            <p:pic>
              <p:nvPicPr>
                <p:cNvPr id="80" name="Graphic 79">
                  <a:extLst>
                    <a:ext uri="{FF2B5EF4-FFF2-40B4-BE49-F238E27FC236}">
                      <a16:creationId xmlns:a16="http://schemas.microsoft.com/office/drawing/2014/main" id="{DFFE6E7E-45D4-C8FC-60A4-CCCFCC7C7D2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4">
                  <a:extLst>
                    <a:ext uri="{96DAC541-7B7A-43D3-8B79-37D633B846F1}">
                      <asvg:svgBlip xmlns:asvg="http://schemas.microsoft.com/office/drawing/2016/SVG/main" r:embed="rId15"/>
                    </a:ext>
                  </a:extLst>
                </a:blip>
                <a:stretch>
                  <a:fillRect/>
                </a:stretch>
              </p:blipFill>
              <p:spPr>
                <a:xfrm rot="669635">
                  <a:off x="17765884" y="12713834"/>
                  <a:ext cx="278894" cy="267922"/>
                </a:xfrm>
                <a:prstGeom prst="rect">
                  <a:avLst/>
                </a:prstGeom>
              </p:spPr>
            </p:pic>
          </p:grpSp>
          <p:pic>
            <p:nvPicPr>
              <p:cNvPr id="69" name="Picture 68">
                <a:extLst>
                  <a:ext uri="{FF2B5EF4-FFF2-40B4-BE49-F238E27FC236}">
                    <a16:creationId xmlns:a16="http://schemas.microsoft.com/office/drawing/2014/main" id="{080F5B37-DC32-37F5-6F67-B6846291FC2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rcRect l="8791" t="27686" r="18754"/>
              <a:stretch>
                <a:fillRect/>
              </a:stretch>
            </p:blipFill>
            <p:spPr>
              <a:xfrm>
                <a:off x="17688246" y="5185018"/>
                <a:ext cx="5091164" cy="5081255"/>
              </a:xfrm>
              <a:custGeom>
                <a:avLst/>
                <a:gdLst>
                  <a:gd name="connsiteX0" fmla="*/ 1146520 w 5091164"/>
                  <a:gd name="connsiteY0" fmla="*/ 28 h 5081255"/>
                  <a:gd name="connsiteX1" fmla="*/ 1227649 w 5091164"/>
                  <a:gd name="connsiteY1" fmla="*/ 4823 h 5081255"/>
                  <a:gd name="connsiteX2" fmla="*/ 4383983 w 5091164"/>
                  <a:gd name="connsiteY2" fmla="*/ 351799 h 5081255"/>
                  <a:gd name="connsiteX3" fmla="*/ 5086342 w 5091164"/>
                  <a:gd name="connsiteY3" fmla="*/ 1227650 h 5081255"/>
                  <a:gd name="connsiteX4" fmla="*/ 4739367 w 5091164"/>
                  <a:gd name="connsiteY4" fmla="*/ 4383979 h 5081255"/>
                  <a:gd name="connsiteX5" fmla="*/ 4102071 w 5091164"/>
                  <a:gd name="connsiteY5" fmla="*/ 5076657 h 5081255"/>
                  <a:gd name="connsiteX6" fmla="*/ 4069952 w 5091164"/>
                  <a:gd name="connsiteY6" fmla="*/ 5081255 h 5081255"/>
                  <a:gd name="connsiteX7" fmla="*/ 3817277 w 5091164"/>
                  <a:gd name="connsiteY7" fmla="*/ 5081255 h 5081255"/>
                  <a:gd name="connsiteX8" fmla="*/ 707182 w 5091164"/>
                  <a:gd name="connsiteY8" fmla="*/ 4739362 h 5081255"/>
                  <a:gd name="connsiteX9" fmla="*/ 4823 w 5091164"/>
                  <a:gd name="connsiteY9" fmla="*/ 3863511 h 5081255"/>
                  <a:gd name="connsiteX10" fmla="*/ 351798 w 5091164"/>
                  <a:gd name="connsiteY10" fmla="*/ 707182 h 5081255"/>
                  <a:gd name="connsiteX11" fmla="*/ 1146520 w 5091164"/>
                  <a:gd name="connsiteY11" fmla="*/ 28 h 508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091164" h="5081255">
                    <a:moveTo>
                      <a:pt x="1146520" y="28"/>
                    </a:moveTo>
                    <a:cubicBezTo>
                      <a:pt x="1173344" y="250"/>
                      <a:pt x="1200411" y="1829"/>
                      <a:pt x="1227649" y="4823"/>
                    </a:cubicBezTo>
                    <a:lnTo>
                      <a:pt x="4383983" y="351799"/>
                    </a:lnTo>
                    <a:cubicBezTo>
                      <a:pt x="4819793" y="399708"/>
                      <a:pt x="5134250" y="791840"/>
                      <a:pt x="5086342" y="1227650"/>
                    </a:cubicBezTo>
                    <a:lnTo>
                      <a:pt x="4739367" y="4383979"/>
                    </a:lnTo>
                    <a:cubicBezTo>
                      <a:pt x="4700441" y="4738075"/>
                      <a:pt x="4434274" y="5012059"/>
                      <a:pt x="4102071" y="5076657"/>
                    </a:cubicBezTo>
                    <a:lnTo>
                      <a:pt x="4069952" y="5081255"/>
                    </a:lnTo>
                    <a:lnTo>
                      <a:pt x="3817277" y="5081255"/>
                    </a:lnTo>
                    <a:lnTo>
                      <a:pt x="707182" y="4739362"/>
                    </a:lnTo>
                    <a:cubicBezTo>
                      <a:pt x="271371" y="4691454"/>
                      <a:pt x="-43086" y="4299321"/>
                      <a:pt x="4823" y="3863511"/>
                    </a:cubicBezTo>
                    <a:lnTo>
                      <a:pt x="351798" y="707182"/>
                    </a:lnTo>
                    <a:cubicBezTo>
                      <a:pt x="396712" y="298610"/>
                      <a:pt x="744167" y="-3304"/>
                      <a:pt x="1146520" y="28"/>
                    </a:cubicBezTo>
                    <a:close/>
                  </a:path>
                </a:pathLst>
              </a:custGeom>
            </p:spPr>
          </p:pic>
          <p:grpSp>
            <p:nvGrpSpPr>
              <p:cNvPr id="70" name="Group 69">
                <a:extLst>
                  <a:ext uri="{FF2B5EF4-FFF2-40B4-BE49-F238E27FC236}">
                    <a16:creationId xmlns:a16="http://schemas.microsoft.com/office/drawing/2014/main" id="{2AB61E48-8679-1585-7F2E-B4414858B691}"/>
                  </a:ext>
                </a:extLst>
              </p:cNvPr>
              <p:cNvGrpSpPr/>
              <p:nvPr/>
            </p:nvGrpSpPr>
            <p:grpSpPr>
              <a:xfrm>
                <a:off x="21834660" y="9291078"/>
                <a:ext cx="1150593" cy="1393829"/>
                <a:chOff x="21695038" y="10414768"/>
                <a:chExt cx="931008" cy="1127823"/>
              </a:xfrm>
            </p:grpSpPr>
            <p:grpSp>
              <p:nvGrpSpPr>
                <p:cNvPr id="71" name="Group 70">
                  <a:extLst>
                    <a:ext uri="{FF2B5EF4-FFF2-40B4-BE49-F238E27FC236}">
                      <a16:creationId xmlns:a16="http://schemas.microsoft.com/office/drawing/2014/main" id="{75501F0A-B5BC-F14A-0610-05CE615DD98D}"/>
                    </a:ext>
                  </a:extLst>
                </p:cNvPr>
                <p:cNvGrpSpPr/>
                <p:nvPr/>
              </p:nvGrpSpPr>
              <p:grpSpPr>
                <a:xfrm rot="20233346">
                  <a:off x="21695038" y="10414768"/>
                  <a:ext cx="816107" cy="816107"/>
                  <a:chOff x="27773815" y="5558076"/>
                  <a:chExt cx="3124728" cy="3124728"/>
                </a:xfrm>
                <a:effectLst>
                  <a:outerShdw blurRad="571500" dist="114300" dir="16200000" rotWithShape="0">
                    <a:srgbClr val="6C9EAA">
                      <a:alpha val="49804"/>
                    </a:srgbClr>
                  </a:outerShdw>
                </a:effectLst>
              </p:grpSpPr>
              <p:sp>
                <p:nvSpPr>
                  <p:cNvPr id="73" name="Rectangle: Rounded Corners 72">
                    <a:extLst>
                      <a:ext uri="{FF2B5EF4-FFF2-40B4-BE49-F238E27FC236}">
                        <a16:creationId xmlns:a16="http://schemas.microsoft.com/office/drawing/2014/main" id="{8A375416-1980-8BD7-1A39-C7DB1EE2C83D}"/>
                      </a:ext>
                    </a:extLst>
                  </p:cNvPr>
                  <p:cNvSpPr/>
                  <p:nvPr/>
                </p:nvSpPr>
                <p:spPr>
                  <a:xfrm>
                    <a:off x="27773815" y="5558076"/>
                    <a:ext cx="3124728" cy="3124728"/>
                  </a:xfrm>
                  <a:prstGeom prst="roundRect">
                    <a:avLst>
                      <a:gd name="adj" fmla="val 32870"/>
                    </a:avLst>
                  </a:prstGeom>
                  <a:solidFill>
                    <a:srgbClr val="F2F2F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0" tIns="180000" rIns="180000" bIns="180000" rtlCol="0" anchor="t"/>
                  <a:lstStyle/>
                  <a:p>
                    <a:pPr algn="l"/>
                    <a:endParaRPr lang="ru-RU" sz="4000" dirty="0" err="1">
                      <a:solidFill>
                        <a:schemeClr val="tx1"/>
                      </a:solidFill>
                    </a:endParaRPr>
                  </a:p>
                </p:txBody>
              </p:sp>
              <p:pic>
                <p:nvPicPr>
                  <p:cNvPr id="74" name="Graphic 73">
                    <a:extLst>
                      <a:ext uri="{FF2B5EF4-FFF2-40B4-BE49-F238E27FC236}">
                        <a16:creationId xmlns:a16="http://schemas.microsoft.com/office/drawing/2014/main" id="{98A8285A-18C9-A9D8-F562-A3D94766981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6">
                    <a:extLst>
                      <a:ext uri="{96DAC541-7B7A-43D3-8B79-37D633B846F1}">
                        <asvg:svgBlip xmlns:asvg="http://schemas.microsoft.com/office/drawing/2016/SVG/main" r:embed="rId17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28606973" y="6017991"/>
                    <a:ext cx="1458414" cy="2204898"/>
                  </a:xfrm>
                  <a:prstGeom prst="rect">
                    <a:avLst/>
                  </a:prstGeom>
                </p:spPr>
              </p:pic>
            </p:grpSp>
            <p:sp>
              <p:nvSpPr>
                <p:cNvPr id="72" name="TextBox 71">
                  <a:extLst>
                    <a:ext uri="{FF2B5EF4-FFF2-40B4-BE49-F238E27FC236}">
                      <a16:creationId xmlns:a16="http://schemas.microsoft.com/office/drawing/2014/main" id="{5FDCCFEE-27D5-B451-2029-83F59A375350}"/>
                    </a:ext>
                  </a:extLst>
                </p:cNvPr>
                <p:cNvSpPr txBox="1"/>
                <p:nvPr/>
              </p:nvSpPr>
              <p:spPr>
                <a:xfrm rot="20153049">
                  <a:off x="22099433" y="11243744"/>
                  <a:ext cx="526613" cy="298847"/>
                </a:xfrm>
                <a:prstGeom prst="rect">
                  <a:avLst/>
                </a:prstGeom>
              </p:spPr>
              <p:txBody>
                <a:bodyPr vert="horz" wrap="none" lIns="0" tIns="0" rIns="0" bIns="0" rtlCol="0">
                  <a:spAutoFit/>
                </a:bodyPr>
                <a:lstStyle>
                  <a:lvl1pPr lvl="0" indent="0" defTabSz="1828619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>
                      <a:schemeClr val="tx2"/>
                    </a:buClr>
                    <a:buFontTx/>
                    <a:buNone/>
                    <a:defRPr sz="3200" b="0" i="0">
                      <a:latin typeface="YS Text Regular" pitchFamily="2" charset="0"/>
                      <a:cs typeface="YS Text Regular" pitchFamily="2" charset="0"/>
                    </a:defRPr>
                  </a:lvl1pPr>
                  <a:lvl2pPr marL="36" marR="0" lvl="1" indent="0" defTabSz="1907905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>
                      <a:schemeClr val="bg2"/>
                    </a:buClr>
                    <a:buSzPct val="120000"/>
                    <a:buFont typeface="Arial Unicode MS" panose="020B0604020202020204" pitchFamily="34" charset="-128"/>
                    <a:buNone/>
                    <a:tabLst/>
                    <a:defRPr sz="3200" b="0" i="0" baseline="0">
                      <a:latin typeface="YS Text Regular" pitchFamily="2" charset="0"/>
                      <a:cs typeface="YS Text Regular" pitchFamily="2" charset="0"/>
                    </a:defRPr>
                  </a:lvl2pPr>
                  <a:lvl3pPr marL="461237" marR="0" lvl="2" indent="-457200" defTabSz="1828619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Pct val="100000"/>
                    <a:buFont typeface="Arial" panose="020B0604020202020204" pitchFamily="34" charset="0"/>
                    <a:buChar char="•"/>
                    <a:tabLst/>
                    <a:defRPr sz="3200" b="0" i="0">
                      <a:latin typeface="YS Text Regular" pitchFamily="2" charset="0"/>
                      <a:cs typeface="YS Text Regular" pitchFamily="2" charset="0"/>
                    </a:defRPr>
                  </a:lvl3pPr>
                  <a:lvl4pPr marL="1080000" lvl="3" indent="-457200" defTabSz="1828619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Font typeface="System Font Regular"/>
                    <a:buChar char="−"/>
                    <a:tabLst/>
                    <a:defRPr sz="3200" b="0" i="0">
                      <a:latin typeface="YS Text Regular" pitchFamily="2" charset="0"/>
                      <a:cs typeface="YS Text Regular" pitchFamily="2" charset="0"/>
                    </a:defRPr>
                  </a:lvl4pPr>
                  <a:lvl5pPr marL="0" lvl="4" indent="0" defTabSz="1828619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>
                      <a:schemeClr val="tx2"/>
                    </a:buClr>
                    <a:buFontTx/>
                    <a:buNone/>
                    <a:defRPr sz="3200" b="0" i="0" baseline="0">
                      <a:latin typeface="YS Text Regular" pitchFamily="2" charset="0"/>
                      <a:cs typeface="YS Text Regular" pitchFamily="2" charset="0"/>
                    </a:defRPr>
                  </a:lvl5pPr>
                  <a:lvl6pPr marL="5028699" indent="-457155" defTabSz="1828619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</a:lvl6pPr>
                  <a:lvl7pPr marL="5943007" indent="-457155" defTabSz="1828619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</a:lvl7pPr>
                  <a:lvl8pPr marL="6857315" indent="-457155" defTabSz="1828619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</a:lvl8pPr>
                  <a:lvl9pPr marL="7771623" indent="-457155" defTabSz="1828619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</a:lvl9pPr>
                </a:lstStyle>
                <a:p>
                  <a:r>
                    <a:rPr lang="en-US" sz="2400" dirty="0">
                      <a:solidFill>
                        <a:schemeClr val="accent2">
                          <a:lumMod val="90000"/>
                        </a:schemeClr>
                      </a:solidFill>
                    </a:rPr>
                    <a:t>Click</a:t>
                  </a:r>
                  <a:endParaRPr lang="ru-RU" sz="2400" dirty="0">
                    <a:solidFill>
                      <a:schemeClr val="accent2">
                        <a:lumMod val="90000"/>
                      </a:schemeClr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414475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C5384307-0A54-8DBB-C5E0-2EE488DC37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0373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3D83927F-ED70-10A9-BADE-213A4AB5998C}"/>
              </a:ext>
            </a:extLst>
          </p:cNvPr>
          <p:cNvSpPr/>
          <p:nvPr/>
        </p:nvSpPr>
        <p:spPr>
          <a:xfrm>
            <a:off x="22337486" y="12496800"/>
            <a:ext cx="1524000" cy="994952"/>
          </a:xfrm>
          <a:prstGeom prst="rect">
            <a:avLst/>
          </a:prstGeom>
          <a:solidFill>
            <a:srgbClr val="292B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l"/>
            <a:endParaRPr lang="en-GB" sz="3200" dirty="0" err="1">
              <a:solidFill>
                <a:schemeClr val="tx1"/>
              </a:solidFill>
            </a:endParaRPr>
          </a:p>
        </p:txBody>
      </p:sp>
      <p:sp>
        <p:nvSpPr>
          <p:cNvPr id="55" name="Прямоугольник 50">
            <a:extLst>
              <a:ext uri="{FF2B5EF4-FFF2-40B4-BE49-F238E27FC236}">
                <a16:creationId xmlns:a16="http://schemas.microsoft.com/office/drawing/2014/main" id="{5166A1C0-0813-DF74-32E7-FD103FE86C94}"/>
              </a:ext>
            </a:extLst>
          </p:cNvPr>
          <p:cNvSpPr/>
          <p:nvPr/>
        </p:nvSpPr>
        <p:spPr>
          <a:xfrm>
            <a:off x="0" y="1"/>
            <a:ext cx="24382413" cy="13715999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74000"/>
                </a:schemeClr>
              </a:gs>
              <a:gs pos="52000">
                <a:schemeClr val="tx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l"/>
            <a:endParaRPr lang="ru-RU" sz="3200" dirty="0" err="1">
              <a:solidFill>
                <a:schemeClr val="tx1"/>
              </a:solidFill>
            </a:endParaRP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2C2A0897-7CD2-D4B4-8AE7-18ADBDFB036D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50000"/>
          <a:stretch/>
        </p:blipFill>
        <p:spPr>
          <a:xfrm>
            <a:off x="-437017" y="5887459"/>
            <a:ext cx="25256446" cy="7848382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80988B46-EC36-A04D-6844-8CC6F4F4E662}"/>
              </a:ext>
            </a:extLst>
          </p:cNvPr>
          <p:cNvSpPr/>
          <p:nvPr/>
        </p:nvSpPr>
        <p:spPr>
          <a:xfrm>
            <a:off x="6096000" y="5762171"/>
            <a:ext cx="6836229" cy="1538515"/>
          </a:xfrm>
          <a:prstGeom prst="rect">
            <a:avLst/>
          </a:prstGeom>
          <a:solidFill>
            <a:schemeClr val="tx2">
              <a:alpha val="82000"/>
            </a:schemeClr>
          </a:solidFill>
          <a:ln>
            <a:noFill/>
          </a:ln>
          <a:effectLst>
            <a:softEdge rad="3048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l"/>
            <a:endParaRPr lang="en-GB" sz="3200" dirty="0" err="1">
              <a:solidFill>
                <a:schemeClr val="tx1"/>
              </a:solidFill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B6803B2-C84B-FBBF-38B6-F3710302A291}"/>
              </a:ext>
            </a:extLst>
          </p:cNvPr>
          <p:cNvGrpSpPr/>
          <p:nvPr/>
        </p:nvGrpSpPr>
        <p:grpSpPr>
          <a:xfrm>
            <a:off x="13958373" y="3215516"/>
            <a:ext cx="5534315" cy="1240909"/>
            <a:chOff x="13784201" y="3362053"/>
            <a:chExt cx="5534315" cy="1240909"/>
          </a:xfrm>
        </p:grpSpPr>
        <p:sp>
          <p:nvSpPr>
            <p:cNvPr id="22" name="Скругленный прямоугольник 10">
              <a:extLst>
                <a:ext uri="{FF2B5EF4-FFF2-40B4-BE49-F238E27FC236}">
                  <a16:creationId xmlns:a16="http://schemas.microsoft.com/office/drawing/2014/main" id="{22D83113-744B-A038-F8E6-BD3B95E50669}"/>
                </a:ext>
              </a:extLst>
            </p:cNvPr>
            <p:cNvSpPr/>
            <p:nvPr/>
          </p:nvSpPr>
          <p:spPr>
            <a:xfrm>
              <a:off x="13861910" y="3362053"/>
              <a:ext cx="5456606" cy="1240909"/>
            </a:xfrm>
            <a:prstGeom prst="roundRect">
              <a:avLst>
                <a:gd name="adj" fmla="val 30995"/>
              </a:avLst>
            </a:prstGeom>
            <a:solidFill>
              <a:schemeClr val="tx2">
                <a:alpha val="74777"/>
              </a:schemeClr>
            </a:solidFill>
            <a:ln>
              <a:gradFill flip="none" rotWithShape="1">
                <a:gsLst>
                  <a:gs pos="0">
                    <a:schemeClr val="bg2">
                      <a:alpha val="50000"/>
                    </a:schemeClr>
                  </a:gs>
                  <a:gs pos="100000">
                    <a:schemeClr val="bg1">
                      <a:alpha val="10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rIns="216000" rtlCol="0" anchor="ctr"/>
            <a:lstStyle/>
            <a:p>
              <a:pPr>
                <a:lnSpc>
                  <a:spcPct val="90000"/>
                </a:lnSpc>
              </a:pPr>
              <a:r>
                <a:rPr lang="ru-RU" sz="2400" dirty="0">
                  <a:sym typeface="Georgia"/>
                </a:rPr>
                <a:t>когда вы последний раз просили друга забрать из аэропорта?</a:t>
              </a:r>
            </a:p>
          </p:txBody>
        </p:sp>
        <p:sp>
          <p:nvSpPr>
            <p:cNvPr id="23" name="Овал 20">
              <a:extLst>
                <a:ext uri="{FF2B5EF4-FFF2-40B4-BE49-F238E27FC236}">
                  <a16:creationId xmlns:a16="http://schemas.microsoft.com/office/drawing/2014/main" id="{92379C58-7DCF-99F0-4171-122AF0358D0B}"/>
                </a:ext>
              </a:extLst>
            </p:cNvPr>
            <p:cNvSpPr/>
            <p:nvPr/>
          </p:nvSpPr>
          <p:spPr>
            <a:xfrm>
              <a:off x="13784201" y="3874931"/>
              <a:ext cx="215153" cy="21515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l"/>
              <a:endParaRPr lang="ru-RU" sz="320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9A377459-94E2-031E-C568-B55395C319EF}"/>
              </a:ext>
            </a:extLst>
          </p:cNvPr>
          <p:cNvGrpSpPr/>
          <p:nvPr/>
        </p:nvGrpSpPr>
        <p:grpSpPr>
          <a:xfrm>
            <a:off x="939847" y="7331544"/>
            <a:ext cx="4436030" cy="1240909"/>
            <a:chOff x="2888706" y="8176789"/>
            <a:chExt cx="4436030" cy="1240909"/>
          </a:xfrm>
        </p:grpSpPr>
        <p:sp>
          <p:nvSpPr>
            <p:cNvPr id="27" name="Скругленный прямоугольник 10">
              <a:extLst>
                <a:ext uri="{FF2B5EF4-FFF2-40B4-BE49-F238E27FC236}">
                  <a16:creationId xmlns:a16="http://schemas.microsoft.com/office/drawing/2014/main" id="{6CF288EF-8CCE-8CF1-628C-65A42572818E}"/>
                </a:ext>
              </a:extLst>
            </p:cNvPr>
            <p:cNvSpPr/>
            <p:nvPr/>
          </p:nvSpPr>
          <p:spPr>
            <a:xfrm>
              <a:off x="2888706" y="8176789"/>
              <a:ext cx="4283306" cy="1240909"/>
            </a:xfrm>
            <a:prstGeom prst="roundRect">
              <a:avLst>
                <a:gd name="adj" fmla="val 30995"/>
              </a:avLst>
            </a:prstGeom>
            <a:solidFill>
              <a:schemeClr val="tx2">
                <a:alpha val="74777"/>
              </a:schemeClr>
            </a:solidFill>
            <a:ln>
              <a:gradFill flip="none" rotWithShape="1">
                <a:gsLst>
                  <a:gs pos="0">
                    <a:schemeClr val="bg2">
                      <a:alpha val="50000"/>
                    </a:schemeClr>
                  </a:gs>
                  <a:gs pos="100000">
                    <a:schemeClr val="bg1">
                      <a:alpha val="10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rIns="216000" rtlCol="0" anchor="ctr"/>
            <a:lstStyle/>
            <a:p>
              <a:pPr algn="r">
                <a:lnSpc>
                  <a:spcPct val="90000"/>
                </a:lnSpc>
              </a:pPr>
              <a:r>
                <a:rPr lang="ru-RU" sz="2400" dirty="0">
                  <a:sym typeface="Georgia"/>
                </a:rPr>
                <a:t>когда стояли в очереди </a:t>
              </a:r>
              <a:br>
                <a:rPr lang="ru-RU" sz="2400" dirty="0">
                  <a:sym typeface="Georgia"/>
                </a:rPr>
              </a:br>
              <a:r>
                <a:rPr lang="ru-RU" sz="2400" dirty="0">
                  <a:sym typeface="Georgia"/>
                </a:rPr>
                <a:t>в продуктовом магазине?</a:t>
              </a:r>
            </a:p>
          </p:txBody>
        </p:sp>
        <p:sp>
          <p:nvSpPr>
            <p:cNvPr id="28" name="Овал 20">
              <a:extLst>
                <a:ext uri="{FF2B5EF4-FFF2-40B4-BE49-F238E27FC236}">
                  <a16:creationId xmlns:a16="http://schemas.microsoft.com/office/drawing/2014/main" id="{D0149E84-6DF9-5252-7E3B-C766DB8A7B55}"/>
                </a:ext>
              </a:extLst>
            </p:cNvPr>
            <p:cNvSpPr/>
            <p:nvPr/>
          </p:nvSpPr>
          <p:spPr>
            <a:xfrm>
              <a:off x="7109583" y="8689667"/>
              <a:ext cx="215153" cy="21515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r"/>
              <a:endParaRPr lang="ru-RU" sz="320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94BDD50F-2B2F-168D-42DB-C8EA4A546583}"/>
              </a:ext>
            </a:extLst>
          </p:cNvPr>
          <p:cNvGrpSpPr/>
          <p:nvPr/>
        </p:nvGrpSpPr>
        <p:grpSpPr>
          <a:xfrm>
            <a:off x="17623844" y="7054979"/>
            <a:ext cx="5534315" cy="1240909"/>
            <a:chOff x="14626029" y="8536201"/>
            <a:chExt cx="5534315" cy="1240909"/>
          </a:xfrm>
        </p:grpSpPr>
        <p:sp>
          <p:nvSpPr>
            <p:cNvPr id="32" name="Скругленный прямоугольник 10">
              <a:extLst>
                <a:ext uri="{FF2B5EF4-FFF2-40B4-BE49-F238E27FC236}">
                  <a16:creationId xmlns:a16="http://schemas.microsoft.com/office/drawing/2014/main" id="{853AF468-83C1-D78C-12C0-873EFFA78060}"/>
                </a:ext>
              </a:extLst>
            </p:cNvPr>
            <p:cNvSpPr/>
            <p:nvPr/>
          </p:nvSpPr>
          <p:spPr>
            <a:xfrm>
              <a:off x="14703738" y="8536201"/>
              <a:ext cx="5456606" cy="1240909"/>
            </a:xfrm>
            <a:prstGeom prst="roundRect">
              <a:avLst>
                <a:gd name="adj" fmla="val 30995"/>
              </a:avLst>
            </a:prstGeom>
            <a:solidFill>
              <a:schemeClr val="tx2">
                <a:alpha val="74777"/>
              </a:schemeClr>
            </a:solidFill>
            <a:ln>
              <a:gradFill flip="none" rotWithShape="1">
                <a:gsLst>
                  <a:gs pos="0">
                    <a:schemeClr val="bg2">
                      <a:alpha val="50000"/>
                    </a:schemeClr>
                  </a:gs>
                  <a:gs pos="100000">
                    <a:schemeClr val="bg1">
                      <a:alpha val="10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rIns="216000" rtlCol="0" anchor="ctr"/>
            <a:lstStyle/>
            <a:p>
              <a:pPr>
                <a:lnSpc>
                  <a:spcPct val="90000"/>
                </a:lnSpc>
              </a:pPr>
              <a:r>
                <a:rPr lang="ru-RU" sz="2400" dirty="0">
                  <a:sym typeface="Georgia"/>
                </a:rPr>
                <a:t>когда ждали автобус,</a:t>
              </a:r>
              <a:br>
                <a:rPr lang="ru-RU" sz="2400" dirty="0">
                  <a:sym typeface="Georgia"/>
                </a:rPr>
              </a:br>
              <a:r>
                <a:rPr lang="ru-RU" sz="2400" dirty="0">
                  <a:sym typeface="Georgia"/>
                </a:rPr>
                <a:t>не зная, когда он приедет?</a:t>
              </a:r>
            </a:p>
          </p:txBody>
        </p:sp>
        <p:sp>
          <p:nvSpPr>
            <p:cNvPr id="33" name="Овал 20">
              <a:extLst>
                <a:ext uri="{FF2B5EF4-FFF2-40B4-BE49-F238E27FC236}">
                  <a16:creationId xmlns:a16="http://schemas.microsoft.com/office/drawing/2014/main" id="{D36D76A9-1910-9DFE-6B26-B26FCC452904}"/>
                </a:ext>
              </a:extLst>
            </p:cNvPr>
            <p:cNvSpPr/>
            <p:nvPr/>
          </p:nvSpPr>
          <p:spPr>
            <a:xfrm>
              <a:off x="14626029" y="9049079"/>
              <a:ext cx="215153" cy="21515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l"/>
              <a:endParaRPr lang="ru-RU" sz="320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25AB6D1F-02A7-D70C-9E25-49C3BF4732E7}"/>
              </a:ext>
            </a:extLst>
          </p:cNvPr>
          <p:cNvGrpSpPr/>
          <p:nvPr/>
        </p:nvGrpSpPr>
        <p:grpSpPr>
          <a:xfrm>
            <a:off x="15104720" y="11082062"/>
            <a:ext cx="7628280" cy="1240909"/>
            <a:chOff x="15104720" y="11082062"/>
            <a:chExt cx="7628280" cy="1240909"/>
          </a:xfrm>
        </p:grpSpPr>
        <p:sp>
          <p:nvSpPr>
            <p:cNvPr id="35" name="Скругленный прямоугольник 10">
              <a:extLst>
                <a:ext uri="{FF2B5EF4-FFF2-40B4-BE49-F238E27FC236}">
                  <a16:creationId xmlns:a16="http://schemas.microsoft.com/office/drawing/2014/main" id="{495FAE97-D6EF-3779-AACB-F0D0954E7BD0}"/>
                </a:ext>
              </a:extLst>
            </p:cNvPr>
            <p:cNvSpPr/>
            <p:nvPr/>
          </p:nvSpPr>
          <p:spPr>
            <a:xfrm>
              <a:off x="15212572" y="11082062"/>
              <a:ext cx="7520428" cy="1240909"/>
            </a:xfrm>
            <a:prstGeom prst="roundRect">
              <a:avLst>
                <a:gd name="adj" fmla="val 30995"/>
              </a:avLst>
            </a:prstGeom>
            <a:solidFill>
              <a:schemeClr val="tx2">
                <a:alpha val="74777"/>
              </a:schemeClr>
            </a:solidFill>
            <a:ln>
              <a:gradFill flip="none" rotWithShape="1">
                <a:gsLst>
                  <a:gs pos="0">
                    <a:schemeClr val="bg2">
                      <a:alpha val="50000"/>
                    </a:schemeClr>
                  </a:gs>
                  <a:gs pos="100000">
                    <a:schemeClr val="bg1">
                      <a:alpha val="10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rIns="216000" rtlCol="0" anchor="ctr"/>
            <a:lstStyle/>
            <a:p>
              <a:pPr>
                <a:lnSpc>
                  <a:spcPct val="90000"/>
                </a:lnSpc>
              </a:pPr>
              <a:r>
                <a:rPr lang="ru-RU" sz="2400" dirty="0">
                  <a:sym typeface="Georgia"/>
                </a:rPr>
                <a:t>когда ездили в Москву за покупками специально к Новому году или первому сентября</a:t>
              </a:r>
            </a:p>
          </p:txBody>
        </p:sp>
        <p:sp>
          <p:nvSpPr>
            <p:cNvPr id="36" name="Овал 20">
              <a:extLst>
                <a:ext uri="{FF2B5EF4-FFF2-40B4-BE49-F238E27FC236}">
                  <a16:creationId xmlns:a16="http://schemas.microsoft.com/office/drawing/2014/main" id="{ADB81652-1F0F-924A-EA7B-D37747879C12}"/>
                </a:ext>
              </a:extLst>
            </p:cNvPr>
            <p:cNvSpPr/>
            <p:nvPr/>
          </p:nvSpPr>
          <p:spPr>
            <a:xfrm>
              <a:off x="15104720" y="11594940"/>
              <a:ext cx="215153" cy="21515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r"/>
              <a:endParaRPr lang="ru-RU" sz="320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5DEDB902-E3D9-BC39-0D24-2632940E3B3C}"/>
              </a:ext>
            </a:extLst>
          </p:cNvPr>
          <p:cNvGrpSpPr/>
          <p:nvPr/>
        </p:nvGrpSpPr>
        <p:grpSpPr>
          <a:xfrm>
            <a:off x="12225019" y="8570919"/>
            <a:ext cx="5190572" cy="1240909"/>
            <a:chOff x="2417423" y="6861217"/>
            <a:chExt cx="5190572" cy="1240909"/>
          </a:xfrm>
        </p:grpSpPr>
        <p:sp>
          <p:nvSpPr>
            <p:cNvPr id="39" name="Скругленный прямоугольник 10">
              <a:extLst>
                <a:ext uri="{FF2B5EF4-FFF2-40B4-BE49-F238E27FC236}">
                  <a16:creationId xmlns:a16="http://schemas.microsoft.com/office/drawing/2014/main" id="{B4F0E1AD-2D2D-BC1E-203F-B7FBEBB366F8}"/>
                </a:ext>
              </a:extLst>
            </p:cNvPr>
            <p:cNvSpPr/>
            <p:nvPr/>
          </p:nvSpPr>
          <p:spPr>
            <a:xfrm>
              <a:off x="2417423" y="6861217"/>
              <a:ext cx="5045430" cy="1240909"/>
            </a:xfrm>
            <a:prstGeom prst="roundRect">
              <a:avLst>
                <a:gd name="adj" fmla="val 30995"/>
              </a:avLst>
            </a:prstGeom>
            <a:solidFill>
              <a:schemeClr val="tx2">
                <a:alpha val="74777"/>
              </a:schemeClr>
            </a:solidFill>
            <a:ln>
              <a:gradFill flip="none" rotWithShape="1">
                <a:gsLst>
                  <a:gs pos="0">
                    <a:schemeClr val="bg2">
                      <a:alpha val="50000"/>
                    </a:schemeClr>
                  </a:gs>
                  <a:gs pos="100000">
                    <a:schemeClr val="bg1">
                      <a:alpha val="10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rIns="216000" rtlCol="0" anchor="ctr"/>
            <a:lstStyle/>
            <a:p>
              <a:pPr algn="r">
                <a:lnSpc>
                  <a:spcPct val="90000"/>
                </a:lnSpc>
              </a:pPr>
              <a:r>
                <a:rPr lang="ru-RU" sz="2400" dirty="0">
                  <a:sym typeface="Georgia"/>
                </a:rPr>
                <a:t>когда обходили несколько </a:t>
              </a:r>
              <a:br>
                <a:rPr lang="ru-RU" sz="2400" dirty="0">
                  <a:sym typeface="Georgia"/>
                </a:rPr>
              </a:br>
              <a:r>
                <a:rPr lang="ru-RU" sz="2400" dirty="0">
                  <a:sym typeface="Georgia"/>
                </a:rPr>
                <a:t>магазинов, сравнивая цены?</a:t>
              </a:r>
            </a:p>
          </p:txBody>
        </p:sp>
        <p:sp>
          <p:nvSpPr>
            <p:cNvPr id="40" name="Овал 20">
              <a:extLst>
                <a:ext uri="{FF2B5EF4-FFF2-40B4-BE49-F238E27FC236}">
                  <a16:creationId xmlns:a16="http://schemas.microsoft.com/office/drawing/2014/main" id="{71BC0986-AD36-15D0-86CE-D2F87C1598A2}"/>
                </a:ext>
              </a:extLst>
            </p:cNvPr>
            <p:cNvSpPr/>
            <p:nvPr/>
          </p:nvSpPr>
          <p:spPr>
            <a:xfrm>
              <a:off x="7392842" y="7374095"/>
              <a:ext cx="215153" cy="21515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r"/>
              <a:endParaRPr lang="ru-RU" sz="320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CE5BF624-0377-1237-1650-2CE5B99D8781}"/>
              </a:ext>
            </a:extLst>
          </p:cNvPr>
          <p:cNvGrpSpPr/>
          <p:nvPr/>
        </p:nvGrpSpPr>
        <p:grpSpPr>
          <a:xfrm>
            <a:off x="10865861" y="1207330"/>
            <a:ext cx="5534315" cy="1240909"/>
            <a:chOff x="14626029" y="8536201"/>
            <a:chExt cx="5534315" cy="1240909"/>
          </a:xfrm>
        </p:grpSpPr>
        <p:sp>
          <p:nvSpPr>
            <p:cNvPr id="42" name="Скругленный прямоугольник 10">
              <a:extLst>
                <a:ext uri="{FF2B5EF4-FFF2-40B4-BE49-F238E27FC236}">
                  <a16:creationId xmlns:a16="http://schemas.microsoft.com/office/drawing/2014/main" id="{943A9529-B578-6107-AB48-4211B930B9FF}"/>
                </a:ext>
              </a:extLst>
            </p:cNvPr>
            <p:cNvSpPr/>
            <p:nvPr/>
          </p:nvSpPr>
          <p:spPr>
            <a:xfrm>
              <a:off x="14703738" y="8536201"/>
              <a:ext cx="5456606" cy="1240909"/>
            </a:xfrm>
            <a:prstGeom prst="roundRect">
              <a:avLst>
                <a:gd name="adj" fmla="val 30995"/>
              </a:avLst>
            </a:prstGeom>
            <a:solidFill>
              <a:schemeClr val="tx2">
                <a:alpha val="74777"/>
              </a:schemeClr>
            </a:solidFill>
            <a:ln>
              <a:gradFill flip="none" rotWithShape="1">
                <a:gsLst>
                  <a:gs pos="0">
                    <a:schemeClr val="bg2">
                      <a:alpha val="50000"/>
                    </a:schemeClr>
                  </a:gs>
                  <a:gs pos="100000">
                    <a:schemeClr val="bg1">
                      <a:alpha val="10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rIns="216000" rtlCol="0" anchor="ctr"/>
            <a:lstStyle/>
            <a:p>
              <a:pPr>
                <a:lnSpc>
                  <a:spcPct val="90000"/>
                </a:lnSpc>
              </a:pPr>
              <a:r>
                <a:rPr lang="ru-RU" sz="2400" dirty="0">
                  <a:sym typeface="Georgia"/>
                </a:rPr>
                <a:t>когда ждали доставки </a:t>
              </a:r>
              <a:br>
                <a:rPr lang="ru-RU" sz="2400" dirty="0">
                  <a:sym typeface="Georgia"/>
                </a:rPr>
              </a:br>
              <a:r>
                <a:rPr lang="ru-RU" sz="2400" dirty="0">
                  <a:sym typeface="Georgia"/>
                </a:rPr>
                <a:t>из другого города неделями?</a:t>
              </a:r>
            </a:p>
          </p:txBody>
        </p:sp>
        <p:sp>
          <p:nvSpPr>
            <p:cNvPr id="43" name="Овал 20">
              <a:extLst>
                <a:ext uri="{FF2B5EF4-FFF2-40B4-BE49-F238E27FC236}">
                  <a16:creationId xmlns:a16="http://schemas.microsoft.com/office/drawing/2014/main" id="{0E5F572F-2F53-9E4B-6866-EBB454842B7D}"/>
                </a:ext>
              </a:extLst>
            </p:cNvPr>
            <p:cNvSpPr/>
            <p:nvPr/>
          </p:nvSpPr>
          <p:spPr>
            <a:xfrm>
              <a:off x="14626029" y="9049079"/>
              <a:ext cx="215153" cy="21515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l"/>
              <a:endParaRPr lang="ru-RU" sz="320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68F59F4E-2181-84F1-0863-DA9C1AE55F81}"/>
              </a:ext>
            </a:extLst>
          </p:cNvPr>
          <p:cNvGrpSpPr/>
          <p:nvPr/>
        </p:nvGrpSpPr>
        <p:grpSpPr>
          <a:xfrm>
            <a:off x="2417475" y="2325304"/>
            <a:ext cx="4812019" cy="1240909"/>
            <a:chOff x="2795976" y="6861217"/>
            <a:chExt cx="4812019" cy="1240909"/>
          </a:xfrm>
        </p:grpSpPr>
        <p:sp>
          <p:nvSpPr>
            <p:cNvPr id="45" name="Скругленный прямоугольник 10">
              <a:extLst>
                <a:ext uri="{FF2B5EF4-FFF2-40B4-BE49-F238E27FC236}">
                  <a16:creationId xmlns:a16="http://schemas.microsoft.com/office/drawing/2014/main" id="{18493D30-9288-400B-5CAB-743ECF010B2A}"/>
                </a:ext>
              </a:extLst>
            </p:cNvPr>
            <p:cNvSpPr/>
            <p:nvPr/>
          </p:nvSpPr>
          <p:spPr>
            <a:xfrm>
              <a:off x="2795976" y="6861217"/>
              <a:ext cx="4666877" cy="1240909"/>
            </a:xfrm>
            <a:prstGeom prst="roundRect">
              <a:avLst>
                <a:gd name="adj" fmla="val 30995"/>
              </a:avLst>
            </a:prstGeom>
            <a:solidFill>
              <a:schemeClr val="tx2">
                <a:alpha val="74777"/>
              </a:schemeClr>
            </a:solidFill>
            <a:ln>
              <a:gradFill flip="none" rotWithShape="1">
                <a:gsLst>
                  <a:gs pos="0">
                    <a:schemeClr val="bg2">
                      <a:alpha val="50000"/>
                    </a:schemeClr>
                  </a:gs>
                  <a:gs pos="100000">
                    <a:schemeClr val="bg1">
                      <a:alpha val="10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rIns="216000" rtlCol="0" anchor="ctr"/>
            <a:lstStyle/>
            <a:p>
              <a:pPr algn="r">
                <a:lnSpc>
                  <a:spcPct val="90000"/>
                </a:lnSpc>
              </a:pPr>
              <a:r>
                <a:rPr lang="ru-RU" sz="2400" dirty="0">
                  <a:sym typeface="Georgia"/>
                </a:rPr>
                <a:t>когда звали соседа, чтобы </a:t>
              </a:r>
              <a:br>
                <a:rPr lang="ru-RU" sz="2400" dirty="0">
                  <a:sym typeface="Georgia"/>
                </a:rPr>
              </a:br>
              <a:r>
                <a:rPr lang="ru-RU" sz="2400" dirty="0">
                  <a:sym typeface="Georgia"/>
                </a:rPr>
                <a:t>помочь собрать шкаф</a:t>
              </a:r>
            </a:p>
          </p:txBody>
        </p:sp>
        <p:sp>
          <p:nvSpPr>
            <p:cNvPr id="46" name="Овал 20">
              <a:extLst>
                <a:ext uri="{FF2B5EF4-FFF2-40B4-BE49-F238E27FC236}">
                  <a16:creationId xmlns:a16="http://schemas.microsoft.com/office/drawing/2014/main" id="{C805CC7E-4077-E074-B1B1-4D299FD78BEA}"/>
                </a:ext>
              </a:extLst>
            </p:cNvPr>
            <p:cNvSpPr/>
            <p:nvPr/>
          </p:nvSpPr>
          <p:spPr>
            <a:xfrm>
              <a:off x="7392842" y="7374095"/>
              <a:ext cx="215153" cy="21515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r"/>
              <a:endParaRPr lang="ru-RU" sz="3200" dirty="0" err="1">
                <a:solidFill>
                  <a:schemeClr val="tx1"/>
                </a:solidFill>
              </a:endParaRPr>
            </a:p>
          </p:txBody>
        </p:sp>
      </p:grpSp>
      <p:pic>
        <p:nvPicPr>
          <p:cNvPr id="10" name="Graphic 9">
            <a:extLst>
              <a:ext uri="{FF2B5EF4-FFF2-40B4-BE49-F238E27FC236}">
                <a16:creationId xmlns:a16="http://schemas.microsoft.com/office/drawing/2014/main" id="{F79B7EAA-E579-9C53-1C3E-BFC2649C102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92175" y="584708"/>
            <a:ext cx="3089275" cy="450519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B68E84B5-EF6A-7E79-D262-ADF0C9EFCF84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r="71382"/>
          <a:stretch/>
        </p:blipFill>
        <p:spPr>
          <a:xfrm>
            <a:off x="967497" y="4824449"/>
            <a:ext cx="6423903" cy="2078916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EEB119CC-30E4-7B5A-273D-7756891B570D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44552" r="6484"/>
          <a:stretch/>
        </p:blipFill>
        <p:spPr>
          <a:xfrm>
            <a:off x="11343620" y="4824449"/>
            <a:ext cx="10990824" cy="2078916"/>
          </a:xfrm>
          <a:prstGeom prst="rect">
            <a:avLst/>
          </a:prstGeom>
        </p:spPr>
      </p:pic>
      <p:sp>
        <p:nvSpPr>
          <p:cNvPr id="62" name="Rectangle 61">
            <a:extLst>
              <a:ext uri="{FF2B5EF4-FFF2-40B4-BE49-F238E27FC236}">
                <a16:creationId xmlns:a16="http://schemas.microsoft.com/office/drawing/2014/main" id="{3CC80F30-2ED4-3BC1-DD72-E0CA594294E1}"/>
              </a:ext>
            </a:extLst>
          </p:cNvPr>
          <p:cNvSpPr/>
          <p:nvPr/>
        </p:nvSpPr>
        <p:spPr>
          <a:xfrm rot="10800000">
            <a:off x="8910436" y="-1564070"/>
            <a:ext cx="6634364" cy="1223905"/>
          </a:xfrm>
          <a:prstGeom prst="rect">
            <a:avLst/>
          </a:prstGeom>
          <a:gradFill>
            <a:gsLst>
              <a:gs pos="0">
                <a:schemeClr val="tx2">
                  <a:alpha val="0"/>
                </a:schemeClr>
              </a:gs>
              <a:gs pos="100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l"/>
            <a:endParaRPr lang="en-GB" sz="3200" dirty="0" err="1">
              <a:solidFill>
                <a:schemeClr val="tx1"/>
              </a:solidFill>
            </a:endParaRPr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11B80156-8F62-D161-44B1-6A8CA571F09E}"/>
              </a:ext>
            </a:extLst>
          </p:cNvPr>
          <p:cNvPicPr>
            <a:picLocks/>
          </p:cNvPicPr>
          <p:nvPr/>
        </p:nvPicPr>
        <p:blipFill>
          <a:blip r:embed="rId10"/>
          <a:stretch/>
        </p:blipFill>
        <p:spPr>
          <a:xfrm>
            <a:off x="5058897" y="76200"/>
            <a:ext cx="8513644" cy="15135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69743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3EDAB40-79FE-C102-98DA-5114ED39E1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7290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EDAB40-79FE-C102-98DA-5114ED39E1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7" name="Group 36">
            <a:extLst>
              <a:ext uri="{FF2B5EF4-FFF2-40B4-BE49-F238E27FC236}">
                <a16:creationId xmlns:a16="http://schemas.microsoft.com/office/drawing/2014/main" id="{2FB075C7-7470-9880-582A-C4483BBB63F4}"/>
              </a:ext>
            </a:extLst>
          </p:cNvPr>
          <p:cNvGrpSpPr/>
          <p:nvPr/>
        </p:nvGrpSpPr>
        <p:grpSpPr>
          <a:xfrm>
            <a:off x="1651782" y="5649692"/>
            <a:ext cx="5925095" cy="8066309"/>
            <a:chOff x="1740273" y="5649692"/>
            <a:chExt cx="5925095" cy="8066309"/>
          </a:xfrm>
        </p:grpSpPr>
        <p:cxnSp>
          <p:nvCxnSpPr>
            <p:cNvPr id="22" name="Прямая соединительная линия 41">
              <a:extLst>
                <a:ext uri="{FF2B5EF4-FFF2-40B4-BE49-F238E27FC236}">
                  <a16:creationId xmlns:a16="http://schemas.microsoft.com/office/drawing/2014/main" id="{8E3F81A8-EF81-BA46-D5D2-E84510563C1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40273" y="5649693"/>
              <a:ext cx="0" cy="8066308"/>
            </a:xfrm>
            <a:prstGeom prst="line">
              <a:avLst/>
            </a:prstGeom>
            <a:ln w="31750" cap="sq" cmpd="sng">
              <a:gradFill flip="none" rotWithShape="1">
                <a:gsLst>
                  <a:gs pos="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5400000" scaled="1"/>
                <a:tileRect/>
              </a:gradFill>
              <a:prstDash val="solid"/>
              <a:bevel/>
              <a:headEnd type="none" w="med" len="med"/>
              <a:tailEnd type="none" w="med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462C1B43-4ABF-41D9-A900-DCD2B40747D4}"/>
                </a:ext>
              </a:extLst>
            </p:cNvPr>
            <p:cNvGrpSpPr/>
            <p:nvPr/>
          </p:nvGrpSpPr>
          <p:grpSpPr>
            <a:xfrm>
              <a:off x="2330209" y="5649692"/>
              <a:ext cx="5335159" cy="5267760"/>
              <a:chOff x="1898207" y="5649692"/>
              <a:chExt cx="5335159" cy="5267760"/>
            </a:xfrm>
          </p:grpSpPr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8B4547E7-6498-817C-4C59-568D6F9BEE7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898208" y="10031055"/>
                <a:ext cx="5335158" cy="88639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800"/>
                  </a:spcAft>
                </a:pPr>
                <a:r>
                  <a:rPr lang="ru-RU" sz="3200" dirty="0">
                    <a:solidFill>
                      <a:schemeClr val="bg1">
                        <a:lumMod val="85000"/>
                      </a:schemeClr>
                    </a:solidFill>
                  </a:rPr>
                  <a:t>чтобы точнее попадать </a:t>
                </a:r>
                <a:br>
                  <a:rPr lang="ru-RU" sz="3200" dirty="0">
                    <a:solidFill>
                      <a:schemeClr val="bg1">
                        <a:lumMod val="85000"/>
                      </a:schemeClr>
                    </a:solidFill>
                  </a:rPr>
                </a:br>
                <a:r>
                  <a:rPr lang="ru-RU" sz="3200" dirty="0">
                    <a:solidFill>
                      <a:schemeClr val="bg1">
                        <a:lumMod val="85000"/>
                      </a:schemeClr>
                    </a:solidFill>
                  </a:rPr>
                  <a:t>в запросы разных аудиторий</a:t>
                </a: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AF057E1A-4985-2ADA-E755-85EAA3FE056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898208" y="6670436"/>
                <a:ext cx="5335158" cy="1630575"/>
              </a:xfrm>
              <a:prstGeom prst="rect">
                <a:avLst/>
              </a:prstGeom>
              <a:noFill/>
              <a:ln/>
            </p:spPr>
            <p:txBody>
              <a:bodyPr wrap="square" lIns="0" tIns="0" rIns="0" bIns="0" rtlCol="0" anchor="t">
                <a:noAutofit/>
              </a:bodyPr>
              <a:lstStyle>
                <a:defPPr>
                  <a:defRPr lang="ru-RU"/>
                </a:defPPr>
                <a:lvl1pPr defTabSz="914217">
                  <a:lnSpc>
                    <a:spcPct val="80000"/>
                  </a:lnSpc>
                  <a:defRPr sz="4000" kern="0" spc="43">
                    <a:solidFill>
                      <a:schemeClr val="bg1"/>
                    </a:solidFill>
                    <a:latin typeface="YS Geo Medium" pitchFamily="34" charset="0"/>
                    <a:cs typeface="YS Geo Medium" pitchFamily="34" charset="-120"/>
                  </a:defRPr>
                </a:lvl1pPr>
              </a:lstStyle>
              <a:p>
                <a:r>
                  <a:rPr lang="ru-RU" sz="4400" dirty="0"/>
                  <a:t>таргетируйте </a:t>
                </a:r>
                <a:br>
                  <a:rPr lang="en-US" sz="4400" dirty="0"/>
                </a:br>
                <a:r>
                  <a:rPr lang="ru-RU" sz="4400" dirty="0"/>
                  <a:t>по поведению, </a:t>
                </a:r>
                <a:br>
                  <a:rPr lang="en-US" sz="4400" dirty="0"/>
                </a:br>
                <a:r>
                  <a:rPr lang="ru-RU" sz="4400" dirty="0"/>
                  <a:t>а не по демографии</a:t>
                </a:r>
              </a:p>
            </p:txBody>
          </p:sp>
          <p:sp>
            <p:nvSpPr>
              <p:cNvPr id="14" name="Oval 7">
                <a:extLst>
                  <a:ext uri="{FF2B5EF4-FFF2-40B4-BE49-F238E27FC236}">
                    <a16:creationId xmlns:a16="http://schemas.microsoft.com/office/drawing/2014/main" id="{59C428B6-AF9D-68FF-33DC-6546390DEFFB}"/>
                  </a:ext>
                </a:extLst>
              </p:cNvPr>
              <p:cNvSpPr/>
              <p:nvPr/>
            </p:nvSpPr>
            <p:spPr>
              <a:xfrm>
                <a:off x="1898207" y="5649692"/>
                <a:ext cx="697620" cy="697620"/>
              </a:xfrm>
              <a:prstGeom prst="ellips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3200" dirty="0">
                    <a:solidFill>
                      <a:schemeClr val="bg1"/>
                    </a:solidFill>
                    <a:latin typeface="+mj-lt"/>
                  </a:rPr>
                  <a:t>1</a:t>
                </a:r>
              </a:p>
            </p:txBody>
          </p:sp>
        </p:grpSp>
      </p:grpSp>
      <p:sp>
        <p:nvSpPr>
          <p:cNvPr id="117" name="Rectangle 116">
            <a:extLst>
              <a:ext uri="{FF2B5EF4-FFF2-40B4-BE49-F238E27FC236}">
                <a16:creationId xmlns:a16="http://schemas.microsoft.com/office/drawing/2014/main" id="{EB923F85-9DFF-21A6-5BCC-F6CC7085FA84}"/>
              </a:ext>
            </a:extLst>
          </p:cNvPr>
          <p:cNvSpPr/>
          <p:nvPr/>
        </p:nvSpPr>
        <p:spPr>
          <a:xfrm>
            <a:off x="1045029" y="5081079"/>
            <a:ext cx="7060603" cy="8634921"/>
          </a:xfrm>
          <a:prstGeom prst="rect">
            <a:avLst/>
          </a:prstGeom>
          <a:solidFill>
            <a:srgbClr val="292B31">
              <a:alpha val="5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l"/>
            <a:endParaRPr lang="en-GB" sz="3200" dirty="0" err="1">
              <a:solidFill>
                <a:schemeClr val="tx1"/>
              </a:solidFill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75DE1CE-0ECE-9DB5-B3C7-CE28E0FD61A4}"/>
              </a:ext>
            </a:extLst>
          </p:cNvPr>
          <p:cNvSpPr/>
          <p:nvPr/>
        </p:nvSpPr>
        <p:spPr>
          <a:xfrm>
            <a:off x="22669279" y="12732991"/>
            <a:ext cx="1148664" cy="879265"/>
          </a:xfrm>
          <a:prstGeom prst="rect">
            <a:avLst/>
          </a:prstGeom>
          <a:solidFill>
            <a:srgbClr val="292B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l"/>
            <a:endParaRPr lang="en-GB" sz="3200" dirty="0" err="1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375DFC-A837-51A9-B3AD-F8F3C138F475}"/>
              </a:ext>
            </a:extLst>
          </p:cNvPr>
          <p:cNvSpPr txBox="1">
            <a:spLocks/>
          </p:cNvSpPr>
          <p:nvPr/>
        </p:nvSpPr>
        <p:spPr>
          <a:xfrm>
            <a:off x="4589187" y="1819347"/>
            <a:ext cx="15313470" cy="159274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pPr algn="ctr">
              <a:lnSpc>
                <a:spcPct val="77000"/>
              </a:lnSpc>
            </a:pPr>
            <a:r>
              <a:rPr lang="ru-RU" sz="11500" dirty="0">
                <a:gradFill flip="none" rotWithShape="1">
                  <a:gsLst>
                    <a:gs pos="100000">
                      <a:schemeClr val="bg1"/>
                    </a:gs>
                    <a:gs pos="0">
                      <a:schemeClr val="accent3"/>
                    </a:gs>
                  </a:gsLst>
                  <a:lin ang="0" scaled="1"/>
                  <a:tileRect/>
                </a:gradFill>
                <a:latin typeface="+mj-lt"/>
                <a:ea typeface="Yango Text" panose="020B0504020202020204" pitchFamily="34" charset="-79"/>
                <a:cs typeface="Yango Text" panose="020B0504020202020204" pitchFamily="34" charset="-79"/>
              </a:rPr>
              <a:t>как работать с теми, кого мы избаловали</a:t>
            </a:r>
            <a:endParaRPr lang="ru-RU" sz="6600" dirty="0">
              <a:gradFill flip="none" rotWithShape="1">
                <a:gsLst>
                  <a:gs pos="100000">
                    <a:schemeClr val="bg1"/>
                  </a:gs>
                  <a:gs pos="0">
                    <a:schemeClr val="accent3"/>
                  </a:gs>
                </a:gsLst>
                <a:lin ang="0" scaled="1"/>
                <a:tileRect/>
              </a:gradFill>
              <a:latin typeface="+mj-lt"/>
              <a:ea typeface="Yango Text" panose="020B0504020202020204" pitchFamily="34" charset="-79"/>
              <a:cs typeface="Yango Text" panose="020B0504020202020204" pitchFamily="34" charset="-79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0F8695A-EDBF-904D-2797-80291D4C59DF}"/>
              </a:ext>
            </a:extLst>
          </p:cNvPr>
          <p:cNvSpPr txBox="1">
            <a:spLocks/>
          </p:cNvSpPr>
          <p:nvPr/>
        </p:nvSpPr>
        <p:spPr>
          <a:xfrm>
            <a:off x="4589187" y="615043"/>
            <a:ext cx="15313470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pPr algn="ctr">
              <a:lnSpc>
                <a:spcPct val="90000"/>
              </a:lnSpc>
            </a:pPr>
            <a:r>
              <a:rPr lang="ru-RU" sz="4000" dirty="0">
                <a:gradFill flip="none" rotWithShape="1">
                  <a:gsLst>
                    <a:gs pos="100000">
                      <a:schemeClr val="bg1"/>
                    </a:gs>
                    <a:gs pos="0">
                      <a:schemeClr val="accent3"/>
                    </a:gs>
                  </a:gsLst>
                  <a:lin ang="0" scaled="1"/>
                  <a:tileRect/>
                </a:gradFill>
                <a:latin typeface="+mj-lt"/>
                <a:ea typeface="Yango Text" panose="020B0504020202020204" pitchFamily="34" charset="-79"/>
                <a:cs typeface="Yango Text" panose="020B0504020202020204" pitchFamily="34" charset="-79"/>
              </a:rPr>
              <a:t>теперь ваша очередь</a:t>
            </a:r>
          </a:p>
        </p:txBody>
      </p:sp>
      <p:pic>
        <p:nvPicPr>
          <p:cNvPr id="58" name="Рисунок 51" descr="Изображение выглядит как снимок экрана, Прямоугольник, свет, искусство&#10;&#10;Содержимое, созданное искусственным интеллектом, может быть неверным.">
            <a:extLst>
              <a:ext uri="{FF2B5EF4-FFF2-40B4-BE49-F238E27FC236}">
                <a16:creationId xmlns:a16="http://schemas.microsoft.com/office/drawing/2014/main" id="{992E7EB0-6A20-8D11-461A-0DED179A963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73" t="63380" r="12859"/>
          <a:stretch/>
        </p:blipFill>
        <p:spPr>
          <a:xfrm flipV="1">
            <a:off x="0" y="6396261"/>
            <a:ext cx="24382412" cy="7319737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892CCCE1-8522-3EDD-0DCA-A44A10E040BA}"/>
              </a:ext>
            </a:extLst>
          </p:cNvPr>
          <p:cNvGrpSpPr/>
          <p:nvPr/>
        </p:nvGrpSpPr>
        <p:grpSpPr>
          <a:xfrm>
            <a:off x="9228659" y="5649692"/>
            <a:ext cx="5925095" cy="8066309"/>
            <a:chOff x="9169666" y="5649692"/>
            <a:chExt cx="5925095" cy="8066309"/>
          </a:xfrm>
        </p:grpSpPr>
        <p:cxnSp>
          <p:nvCxnSpPr>
            <p:cNvPr id="3" name="Прямая соединительная линия 41">
              <a:extLst>
                <a:ext uri="{FF2B5EF4-FFF2-40B4-BE49-F238E27FC236}">
                  <a16:creationId xmlns:a16="http://schemas.microsoft.com/office/drawing/2014/main" id="{DAE0F5D3-7474-BF10-EC35-D056D2E1667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169666" y="5649693"/>
              <a:ext cx="0" cy="8066308"/>
            </a:xfrm>
            <a:prstGeom prst="line">
              <a:avLst/>
            </a:prstGeom>
            <a:ln w="31750" cap="sq" cmpd="sng">
              <a:gradFill flip="none" rotWithShape="1">
                <a:gsLst>
                  <a:gs pos="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5400000" scaled="1"/>
                <a:tileRect/>
              </a:gradFill>
              <a:prstDash val="solid"/>
              <a:bevel/>
              <a:headEnd type="none" w="med" len="med"/>
              <a:tailEnd type="none" w="med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44DCC9B6-3008-95B3-2AE7-2CF75B56ED6C}"/>
                </a:ext>
              </a:extLst>
            </p:cNvPr>
            <p:cNvGrpSpPr/>
            <p:nvPr/>
          </p:nvGrpSpPr>
          <p:grpSpPr>
            <a:xfrm>
              <a:off x="9759602" y="5649692"/>
              <a:ext cx="5335159" cy="5710958"/>
              <a:chOff x="9678700" y="5649692"/>
              <a:chExt cx="5335159" cy="5710958"/>
            </a:xfrm>
          </p:grpSpPr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441CDBC1-3C02-DC5A-3DE8-387B6A3F3FE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678701" y="10031055"/>
                <a:ext cx="5335158" cy="132959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800"/>
                  </a:spcAft>
                </a:pPr>
                <a:r>
                  <a:rPr lang="ru-RU" sz="3200" dirty="0">
                    <a:solidFill>
                      <a:schemeClr val="bg1">
                        <a:lumMod val="85000"/>
                      </a:schemeClr>
                    </a:solidFill>
                  </a:rPr>
                  <a:t>чтобы пользователь</a:t>
                </a:r>
                <a:br>
                  <a:rPr lang="ru-RU" sz="3200" dirty="0">
                    <a:solidFill>
                      <a:schemeClr val="bg1">
                        <a:lumMod val="85000"/>
                      </a:schemeClr>
                    </a:solidFill>
                  </a:rPr>
                </a:br>
                <a:r>
                  <a:rPr lang="ru-RU" sz="3200" dirty="0">
                    <a:solidFill>
                      <a:schemeClr val="bg1">
                        <a:lumMod val="85000"/>
                      </a:schemeClr>
                    </a:solidFill>
                  </a:rPr>
                  <a:t>верил, что находит</a:t>
                </a:r>
                <a:br>
                  <a:rPr lang="ru-RU" sz="3200" dirty="0">
                    <a:solidFill>
                      <a:schemeClr val="bg1">
                        <a:lumMod val="85000"/>
                      </a:schemeClr>
                    </a:solidFill>
                  </a:rPr>
                </a:br>
                <a:r>
                  <a:rPr lang="ru-RU" sz="3200" dirty="0">
                    <a:solidFill>
                      <a:schemeClr val="bg1">
                        <a:lumMod val="85000"/>
                      </a:schemeClr>
                    </a:solidFill>
                  </a:rPr>
                  <a:t>для себя лучшее </a:t>
                </a:r>
                <a:br>
                  <a:rPr lang="en-US" sz="3200" dirty="0">
                    <a:solidFill>
                      <a:schemeClr val="bg1">
                        <a:lumMod val="85000"/>
                      </a:schemeClr>
                    </a:solidFill>
                  </a:rPr>
                </a:br>
                <a:r>
                  <a:rPr lang="ru-RU" sz="3200" dirty="0">
                    <a:solidFill>
                      <a:schemeClr val="bg1">
                        <a:lumMod val="85000"/>
                      </a:schemeClr>
                    </a:solidFill>
                  </a:rPr>
                  <a:t>решение</a:t>
                </a:r>
              </a:p>
            </p:txBody>
          </p:sp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ECFBD414-5C94-B5E3-7186-7B7F3EC17E9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678701" y="6670436"/>
                <a:ext cx="5335158" cy="1088888"/>
              </a:xfrm>
              <a:prstGeom prst="rect">
                <a:avLst/>
              </a:prstGeom>
              <a:noFill/>
              <a:ln/>
            </p:spPr>
            <p:txBody>
              <a:bodyPr wrap="square" lIns="0" tIns="0" rIns="0" bIns="0" rtlCol="0" anchor="t">
                <a:noAutofit/>
              </a:bodyPr>
              <a:lstStyle>
                <a:defPPr>
                  <a:defRPr lang="ru-RU"/>
                </a:defPPr>
                <a:lvl1pPr defTabSz="914217">
                  <a:lnSpc>
                    <a:spcPct val="80000"/>
                  </a:lnSpc>
                  <a:defRPr sz="4000" kern="0" spc="43">
                    <a:solidFill>
                      <a:schemeClr val="bg1"/>
                    </a:solidFill>
                    <a:latin typeface="YS Geo Medium" pitchFamily="34" charset="0"/>
                    <a:cs typeface="YS Geo Medium" pitchFamily="34" charset="-120"/>
                  </a:defRPr>
                </a:lvl1pPr>
              </a:lstStyle>
              <a:p>
                <a:r>
                  <a:rPr lang="ru-RU" sz="4400" dirty="0" err="1"/>
                  <a:t>приоритизируйте</a:t>
                </a:r>
                <a:br>
                  <a:rPr lang="ru-RU" sz="4400" dirty="0"/>
                </a:br>
                <a:r>
                  <a:rPr lang="ru-RU" sz="4400" dirty="0"/>
                  <a:t>рациональность</a:t>
                </a:r>
              </a:p>
            </p:txBody>
          </p:sp>
          <p:sp>
            <p:nvSpPr>
              <p:cNvPr id="15" name="Oval 7">
                <a:extLst>
                  <a:ext uri="{FF2B5EF4-FFF2-40B4-BE49-F238E27FC236}">
                    <a16:creationId xmlns:a16="http://schemas.microsoft.com/office/drawing/2014/main" id="{5686F2E7-2EA3-722D-D74B-92DEEA24421E}"/>
                  </a:ext>
                </a:extLst>
              </p:cNvPr>
              <p:cNvSpPr/>
              <p:nvPr/>
            </p:nvSpPr>
            <p:spPr>
              <a:xfrm>
                <a:off x="9678700" y="5649692"/>
                <a:ext cx="697620" cy="697620"/>
              </a:xfrm>
              <a:prstGeom prst="ellips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ru-RU" sz="3200" dirty="0">
                    <a:solidFill>
                      <a:schemeClr val="bg1"/>
                    </a:solidFill>
                    <a:latin typeface="+mj-lt"/>
                  </a:rPr>
                  <a:t>2</a:t>
                </a:r>
                <a:endParaRPr lang="en-GB" sz="32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7C4A4B25-26F8-9939-5711-802BDE5EC0EA}"/>
              </a:ext>
            </a:extLst>
          </p:cNvPr>
          <p:cNvGrpSpPr/>
          <p:nvPr/>
        </p:nvGrpSpPr>
        <p:grpSpPr>
          <a:xfrm>
            <a:off x="14985657" y="3239588"/>
            <a:ext cx="9102693" cy="9858114"/>
            <a:chOff x="14985657" y="3239588"/>
            <a:chExt cx="9102693" cy="9858114"/>
          </a:xfrm>
        </p:grpSpPr>
        <p:pic>
          <p:nvPicPr>
            <p:cNvPr id="177" name="Picture 176">
              <a:extLst>
                <a:ext uri="{FF2B5EF4-FFF2-40B4-BE49-F238E27FC236}">
                  <a16:creationId xmlns:a16="http://schemas.microsoft.com/office/drawing/2014/main" id="{34113924-3D49-9C21-C656-CED12050F59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rcRect b="33274"/>
            <a:stretch/>
          </p:blipFill>
          <p:spPr>
            <a:xfrm>
              <a:off x="17061666" y="3239588"/>
              <a:ext cx="7026684" cy="4688602"/>
            </a:xfrm>
            <a:prstGeom prst="rect">
              <a:avLst/>
            </a:prstGeom>
          </p:spPr>
        </p:pic>
        <p:grpSp>
          <p:nvGrpSpPr>
            <p:cNvPr id="178" name="Group 177">
              <a:extLst>
                <a:ext uri="{FF2B5EF4-FFF2-40B4-BE49-F238E27FC236}">
                  <a16:creationId xmlns:a16="http://schemas.microsoft.com/office/drawing/2014/main" id="{63B29C61-1B2F-5C73-8B74-01CE9178CE43}"/>
                </a:ext>
              </a:extLst>
            </p:cNvPr>
            <p:cNvGrpSpPr/>
            <p:nvPr/>
          </p:nvGrpSpPr>
          <p:grpSpPr>
            <a:xfrm>
              <a:off x="14985657" y="4895030"/>
              <a:ext cx="7999596" cy="8202672"/>
              <a:chOff x="14985657" y="4895030"/>
              <a:chExt cx="7999596" cy="8202672"/>
            </a:xfrm>
          </p:grpSpPr>
          <p:grpSp>
            <p:nvGrpSpPr>
              <p:cNvPr id="179" name="Group 178">
                <a:extLst>
                  <a:ext uri="{FF2B5EF4-FFF2-40B4-BE49-F238E27FC236}">
                    <a16:creationId xmlns:a16="http://schemas.microsoft.com/office/drawing/2014/main" id="{49719BE2-BC5B-5C98-F3B1-BC39F667B2B4}"/>
                  </a:ext>
                </a:extLst>
              </p:cNvPr>
              <p:cNvGrpSpPr/>
              <p:nvPr/>
            </p:nvGrpSpPr>
            <p:grpSpPr>
              <a:xfrm>
                <a:off x="14985657" y="8326797"/>
                <a:ext cx="5827380" cy="4601029"/>
                <a:chOff x="789724" y="8094878"/>
                <a:chExt cx="5827380" cy="4601029"/>
              </a:xfrm>
            </p:grpSpPr>
            <p:pic>
              <p:nvPicPr>
                <p:cNvPr id="202" name="Picture 201">
                  <a:extLst>
                    <a:ext uri="{FF2B5EF4-FFF2-40B4-BE49-F238E27FC236}">
                      <a16:creationId xmlns:a16="http://schemas.microsoft.com/office/drawing/2014/main" id="{732D39C4-8B38-B08B-FC30-A3E84D1C789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rcRect l="37472" t="42877" b="4445"/>
                <a:stretch/>
              </p:blipFill>
              <p:spPr>
                <a:xfrm>
                  <a:off x="1792817" y="8210069"/>
                  <a:ext cx="4824287" cy="4485838"/>
                </a:xfrm>
                <a:custGeom>
                  <a:avLst/>
                  <a:gdLst>
                    <a:gd name="connsiteX0" fmla="*/ 2303438 w 4824287"/>
                    <a:gd name="connsiteY0" fmla="*/ 0 h 4485838"/>
                    <a:gd name="connsiteX1" fmla="*/ 2303438 w 4824287"/>
                    <a:gd name="connsiteY1" fmla="*/ 1700466 h 4485838"/>
                    <a:gd name="connsiteX2" fmla="*/ 4532421 w 4824287"/>
                    <a:gd name="connsiteY2" fmla="*/ 1700466 h 4485838"/>
                    <a:gd name="connsiteX3" fmla="*/ 4824287 w 4824287"/>
                    <a:gd name="connsiteY3" fmla="*/ 3167164 h 4485838"/>
                    <a:gd name="connsiteX4" fmla="*/ 4824287 w 4824287"/>
                    <a:gd name="connsiteY4" fmla="*/ 3470510 h 4485838"/>
                    <a:gd name="connsiteX5" fmla="*/ 4784461 w 4824287"/>
                    <a:gd name="connsiteY5" fmla="*/ 3598868 h 4485838"/>
                    <a:gd name="connsiteX6" fmla="*/ 4259369 w 4824287"/>
                    <a:gd name="connsiteY6" fmla="*/ 4027946 h 4485838"/>
                    <a:gd name="connsiteX7" fmla="*/ 1958353 w 4824287"/>
                    <a:gd name="connsiteY7" fmla="*/ 4485838 h 4485838"/>
                    <a:gd name="connsiteX8" fmla="*/ 888460 w 4824287"/>
                    <a:gd name="connsiteY8" fmla="*/ 4485838 h 4485838"/>
                    <a:gd name="connsiteX9" fmla="*/ 884758 w 4824287"/>
                    <a:gd name="connsiteY9" fmla="*/ 4483847 h 4485838"/>
                    <a:gd name="connsiteX10" fmla="*/ 577694 w 4824287"/>
                    <a:gd name="connsiteY10" fmla="*/ 4024373 h 4485838"/>
                    <a:gd name="connsiteX11" fmla="*/ 14024 w 4824287"/>
                    <a:gd name="connsiteY11" fmla="*/ 1191791 h 4485838"/>
                    <a:gd name="connsiteX12" fmla="*/ 581269 w 4824287"/>
                    <a:gd name="connsiteY12" fmla="*/ 342703 h 44858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824287" h="4485838">
                      <a:moveTo>
                        <a:pt x="2303438" y="0"/>
                      </a:moveTo>
                      <a:lnTo>
                        <a:pt x="2303438" y="1700466"/>
                      </a:lnTo>
                      <a:lnTo>
                        <a:pt x="4532421" y="1700466"/>
                      </a:lnTo>
                      <a:lnTo>
                        <a:pt x="4824287" y="3167164"/>
                      </a:lnTo>
                      <a:lnTo>
                        <a:pt x="4824287" y="3470510"/>
                      </a:lnTo>
                      <a:lnTo>
                        <a:pt x="4784461" y="3598868"/>
                      </a:lnTo>
                      <a:cubicBezTo>
                        <a:pt x="4694684" y="3812566"/>
                        <a:pt x="4503813" y="3979303"/>
                        <a:pt x="4259369" y="4027946"/>
                      </a:cubicBezTo>
                      <a:lnTo>
                        <a:pt x="1958353" y="4485838"/>
                      </a:lnTo>
                      <a:lnTo>
                        <a:pt x="888460" y="4485838"/>
                      </a:lnTo>
                      <a:lnTo>
                        <a:pt x="884758" y="4483847"/>
                      </a:lnTo>
                      <a:cubicBezTo>
                        <a:pt x="731104" y="4381196"/>
                        <a:pt x="616609" y="4219928"/>
                        <a:pt x="577694" y="4024373"/>
                      </a:cubicBezTo>
                      <a:lnTo>
                        <a:pt x="14024" y="1191791"/>
                      </a:lnTo>
                      <a:cubicBezTo>
                        <a:pt x="-63805" y="800682"/>
                        <a:pt x="190160" y="420531"/>
                        <a:pt x="581269" y="342703"/>
                      </a:cubicBezTo>
                      <a:close/>
                    </a:path>
                  </a:pathLst>
                </a:custGeom>
              </p:spPr>
            </p:pic>
            <p:sp>
              <p:nvSpPr>
                <p:cNvPr id="203" name="Rectangle: Rounded Corners 202">
                  <a:extLst>
                    <a:ext uri="{FF2B5EF4-FFF2-40B4-BE49-F238E27FC236}">
                      <a16:creationId xmlns:a16="http://schemas.microsoft.com/office/drawing/2014/main" id="{94D8CBA7-9174-83F7-8F83-6E1D1437F75E}"/>
                    </a:ext>
                  </a:extLst>
                </p:cNvPr>
                <p:cNvSpPr/>
                <p:nvPr/>
              </p:nvSpPr>
              <p:spPr>
                <a:xfrm rot="20924726">
                  <a:off x="2047054" y="8229281"/>
                  <a:ext cx="4332230" cy="4332225"/>
                </a:xfrm>
                <a:prstGeom prst="roundRect">
                  <a:avLst/>
                </a:prstGeom>
                <a:solidFill>
                  <a:schemeClr val="accent3">
                    <a:alpha val="7000"/>
                  </a:schemeClr>
                </a:solidFill>
                <a:ln>
                  <a:gradFill flip="none" rotWithShape="1">
                    <a:gsLst>
                      <a:gs pos="0">
                        <a:schemeClr val="bg2">
                          <a:alpha val="21000"/>
                        </a:schemeClr>
                      </a:gs>
                      <a:gs pos="100000">
                        <a:schemeClr val="bg1">
                          <a:alpha val="10000"/>
                        </a:schemeClr>
                      </a:gs>
                    </a:gsLst>
                    <a:lin ang="0" scaled="1"/>
                    <a:tileRect/>
                  </a:gra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ru-RU" sz="2800" dirty="0" err="1"/>
                </a:p>
              </p:txBody>
            </p:sp>
            <p:pic>
              <p:nvPicPr>
                <p:cNvPr id="204" name="Picture 203">
                  <a:extLst>
                    <a:ext uri="{FF2B5EF4-FFF2-40B4-BE49-F238E27FC236}">
                      <a16:creationId xmlns:a16="http://schemas.microsoft.com/office/drawing/2014/main" id="{51A5C9B6-FF10-8F2D-61FD-E00B8B3CFD9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rcRect l="24471" t="41524" r="16474" b="4445"/>
                <a:stretch/>
              </p:blipFill>
              <p:spPr>
                <a:xfrm>
                  <a:off x="789724" y="8094878"/>
                  <a:ext cx="4556299" cy="4601029"/>
                </a:xfrm>
                <a:custGeom>
                  <a:avLst/>
                  <a:gdLst>
                    <a:gd name="connsiteX0" fmla="*/ 0 w 5827413"/>
                    <a:gd name="connsiteY0" fmla="*/ 0 h 4601029"/>
                    <a:gd name="connsiteX1" fmla="*/ 3306564 w 5827413"/>
                    <a:gd name="connsiteY1" fmla="*/ 0 h 4601029"/>
                    <a:gd name="connsiteX2" fmla="*/ 3306564 w 5827413"/>
                    <a:gd name="connsiteY2" fmla="*/ 1815657 h 4601029"/>
                    <a:gd name="connsiteX3" fmla="*/ 5827413 w 5827413"/>
                    <a:gd name="connsiteY3" fmla="*/ 1815657 h 4601029"/>
                    <a:gd name="connsiteX4" fmla="*/ 5827413 w 5827413"/>
                    <a:gd name="connsiteY4" fmla="*/ 4601029 h 4601029"/>
                    <a:gd name="connsiteX5" fmla="*/ 0 w 5827413"/>
                    <a:gd name="connsiteY5" fmla="*/ 4601029 h 46010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827413" h="4601029">
                      <a:moveTo>
                        <a:pt x="0" y="0"/>
                      </a:moveTo>
                      <a:lnTo>
                        <a:pt x="3306564" y="0"/>
                      </a:lnTo>
                      <a:lnTo>
                        <a:pt x="3306564" y="1815657"/>
                      </a:lnTo>
                      <a:lnTo>
                        <a:pt x="5827413" y="1815657"/>
                      </a:lnTo>
                      <a:lnTo>
                        <a:pt x="5827413" y="4601029"/>
                      </a:lnTo>
                      <a:lnTo>
                        <a:pt x="0" y="4601029"/>
                      </a:lnTo>
                      <a:close/>
                    </a:path>
                  </a:pathLst>
                </a:custGeom>
              </p:spPr>
            </p:pic>
          </p:grpSp>
          <p:sp>
            <p:nvSpPr>
              <p:cNvPr id="180" name="Rectangle: Rounded Corners 179">
                <a:extLst>
                  <a:ext uri="{FF2B5EF4-FFF2-40B4-BE49-F238E27FC236}">
                    <a16:creationId xmlns:a16="http://schemas.microsoft.com/office/drawing/2014/main" id="{7C8578BD-C024-CEC9-CF7B-66F98B6FC105}"/>
                  </a:ext>
                </a:extLst>
              </p:cNvPr>
              <p:cNvSpPr/>
              <p:nvPr/>
            </p:nvSpPr>
            <p:spPr>
              <a:xfrm rot="376400">
                <a:off x="17843463" y="5349067"/>
                <a:ext cx="4763066" cy="4763061"/>
              </a:xfrm>
              <a:prstGeom prst="roundRect">
                <a:avLst/>
              </a:prstGeom>
              <a:gradFill>
                <a:gsLst>
                  <a:gs pos="0">
                    <a:schemeClr val="accent5"/>
                  </a:gs>
                  <a:gs pos="100000">
                    <a:schemeClr val="accent5">
                      <a:alpha val="0"/>
                    </a:schemeClr>
                  </a:gs>
                </a:gsLst>
                <a:lin ang="16200000" scaled="1"/>
              </a:gra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t"/>
              <a:lstStyle/>
              <a:p>
                <a:endParaRPr lang="ru-RU" sz="3200" dirty="0" err="1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1" name="Group 180">
                <a:extLst>
                  <a:ext uri="{FF2B5EF4-FFF2-40B4-BE49-F238E27FC236}">
                    <a16:creationId xmlns:a16="http://schemas.microsoft.com/office/drawing/2014/main" id="{C8412216-6DAC-5FDE-4C3C-0D9B1FA83923}"/>
                  </a:ext>
                </a:extLst>
              </p:cNvPr>
              <p:cNvGrpSpPr/>
              <p:nvPr/>
            </p:nvGrpSpPr>
            <p:grpSpPr>
              <a:xfrm rot="20650298">
                <a:off x="17136246" y="4895030"/>
                <a:ext cx="2345193" cy="769760"/>
                <a:chOff x="19442665" y="3889829"/>
                <a:chExt cx="1849792" cy="607155"/>
              </a:xfrm>
            </p:grpSpPr>
            <p:sp>
              <p:nvSpPr>
                <p:cNvPr id="195" name="Скругленный прямоугольник 26">
                  <a:extLst>
                    <a:ext uri="{FF2B5EF4-FFF2-40B4-BE49-F238E27FC236}">
                      <a16:creationId xmlns:a16="http://schemas.microsoft.com/office/drawing/2014/main" id="{F089B2BE-59F9-95A8-1B4F-168F76703E33}"/>
                    </a:ext>
                  </a:extLst>
                </p:cNvPr>
                <p:cNvSpPr/>
                <p:nvPr/>
              </p:nvSpPr>
              <p:spPr>
                <a:xfrm>
                  <a:off x="19442665" y="3889829"/>
                  <a:ext cx="1849792" cy="607155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accent4"/>
                </a:solidFill>
                <a:ln>
                  <a:gradFill flip="none" rotWithShape="1">
                    <a:gsLst>
                      <a:gs pos="0">
                        <a:schemeClr val="bg2">
                          <a:alpha val="50000"/>
                        </a:schemeClr>
                      </a:gs>
                      <a:gs pos="100000">
                        <a:schemeClr val="bg1">
                          <a:alpha val="10000"/>
                        </a:schemeClr>
                      </a:gs>
                    </a:gsLst>
                    <a:lin ang="0" scaled="1"/>
                    <a:tileRect/>
                  </a:gra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sz="2800" dirty="0"/>
                </a:p>
              </p:txBody>
            </p:sp>
            <p:grpSp>
              <p:nvGrpSpPr>
                <p:cNvPr id="196" name="Group 195">
                  <a:extLst>
                    <a:ext uri="{FF2B5EF4-FFF2-40B4-BE49-F238E27FC236}">
                      <a16:creationId xmlns:a16="http://schemas.microsoft.com/office/drawing/2014/main" id="{385EE20B-59E0-0F70-722B-85726E9AC931}"/>
                    </a:ext>
                  </a:extLst>
                </p:cNvPr>
                <p:cNvGrpSpPr/>
                <p:nvPr/>
              </p:nvGrpSpPr>
              <p:grpSpPr>
                <a:xfrm>
                  <a:off x="19660772" y="4078514"/>
                  <a:ext cx="1413578" cy="211326"/>
                  <a:chOff x="19337963" y="3865656"/>
                  <a:chExt cx="2621696" cy="391936"/>
                </a:xfrm>
              </p:grpSpPr>
              <p:pic>
                <p:nvPicPr>
                  <p:cNvPr id="197" name="Graphic 196">
                    <a:extLst>
                      <a:ext uri="{FF2B5EF4-FFF2-40B4-BE49-F238E27FC236}">
                        <a16:creationId xmlns:a16="http://schemas.microsoft.com/office/drawing/2014/main" id="{D186622F-639E-9949-B561-3FF69A50AA5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9">
                    <a:extLst>
                      <a:ext uri="{96DAC541-7B7A-43D3-8B79-37D633B846F1}">
                        <asvg:svgBlip xmlns:asvg="http://schemas.microsoft.com/office/drawing/2016/SVG/main" r:embed="rId1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9337963" y="3865656"/>
                    <a:ext cx="407986" cy="391936"/>
                  </a:xfrm>
                  <a:prstGeom prst="rect">
                    <a:avLst/>
                  </a:prstGeom>
                </p:spPr>
              </p:pic>
              <p:pic>
                <p:nvPicPr>
                  <p:cNvPr id="198" name="Graphic 197">
                    <a:extLst>
                      <a:ext uri="{FF2B5EF4-FFF2-40B4-BE49-F238E27FC236}">
                        <a16:creationId xmlns:a16="http://schemas.microsoft.com/office/drawing/2014/main" id="{AEE9E93A-4DAF-9147-7038-405AD9432D8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9">
                    <a:extLst>
                      <a:ext uri="{96DAC541-7B7A-43D3-8B79-37D633B846F1}">
                        <asvg:svgBlip xmlns:asvg="http://schemas.microsoft.com/office/drawing/2016/SVG/main" r:embed="rId1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9891390" y="3865656"/>
                    <a:ext cx="407986" cy="391936"/>
                  </a:xfrm>
                  <a:prstGeom prst="rect">
                    <a:avLst/>
                  </a:prstGeom>
                </p:spPr>
              </p:pic>
              <p:pic>
                <p:nvPicPr>
                  <p:cNvPr id="199" name="Graphic 198">
                    <a:extLst>
                      <a:ext uri="{FF2B5EF4-FFF2-40B4-BE49-F238E27FC236}">
                        <a16:creationId xmlns:a16="http://schemas.microsoft.com/office/drawing/2014/main" id="{96C5E8CC-7A9A-FA4C-71A5-4464FB9CE02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9">
                    <a:extLst>
                      <a:ext uri="{96DAC541-7B7A-43D3-8B79-37D633B846F1}">
                        <asvg:svgBlip xmlns:asvg="http://schemas.microsoft.com/office/drawing/2016/SVG/main" r:embed="rId1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20444817" y="3865656"/>
                    <a:ext cx="407986" cy="391936"/>
                  </a:xfrm>
                  <a:prstGeom prst="rect">
                    <a:avLst/>
                  </a:prstGeom>
                </p:spPr>
              </p:pic>
              <p:pic>
                <p:nvPicPr>
                  <p:cNvPr id="200" name="Graphic 199">
                    <a:extLst>
                      <a:ext uri="{FF2B5EF4-FFF2-40B4-BE49-F238E27FC236}">
                        <a16:creationId xmlns:a16="http://schemas.microsoft.com/office/drawing/2014/main" id="{D7070905-58C2-3D95-1405-D863DB3B64D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9">
                    <a:extLst>
                      <a:ext uri="{96DAC541-7B7A-43D3-8B79-37D633B846F1}">
                        <asvg:svgBlip xmlns:asvg="http://schemas.microsoft.com/office/drawing/2016/SVG/main" r:embed="rId1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20998244" y="3865656"/>
                    <a:ext cx="407986" cy="391936"/>
                  </a:xfrm>
                  <a:prstGeom prst="rect">
                    <a:avLst/>
                  </a:prstGeom>
                </p:spPr>
              </p:pic>
              <p:pic>
                <p:nvPicPr>
                  <p:cNvPr id="201" name="Graphic 200">
                    <a:extLst>
                      <a:ext uri="{FF2B5EF4-FFF2-40B4-BE49-F238E27FC236}">
                        <a16:creationId xmlns:a16="http://schemas.microsoft.com/office/drawing/2014/main" id="{AC688F28-6CCF-4B47-34EA-7CD6D7BAF71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9">
                    <a:extLst>
                      <a:ext uri="{96DAC541-7B7A-43D3-8B79-37D633B846F1}">
                        <asvg:svgBlip xmlns:asvg="http://schemas.microsoft.com/office/drawing/2016/SVG/main" r:embed="rId1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21551673" y="3865656"/>
                    <a:ext cx="407986" cy="391936"/>
                  </a:xfrm>
                  <a:prstGeom prst="rect">
                    <a:avLst/>
                  </a:prstGeom>
                </p:spPr>
              </p:pic>
            </p:grpSp>
          </p:grpSp>
          <p:grpSp>
            <p:nvGrpSpPr>
              <p:cNvPr id="182" name="Group 181">
                <a:extLst>
                  <a:ext uri="{FF2B5EF4-FFF2-40B4-BE49-F238E27FC236}">
                    <a16:creationId xmlns:a16="http://schemas.microsoft.com/office/drawing/2014/main" id="{1B81D86C-D067-1133-D3F8-E88FF10B51FB}"/>
                  </a:ext>
                </a:extLst>
              </p:cNvPr>
              <p:cNvGrpSpPr/>
              <p:nvPr/>
            </p:nvGrpSpPr>
            <p:grpSpPr>
              <a:xfrm>
                <a:off x="15988148" y="12327942"/>
                <a:ext cx="2345193" cy="769760"/>
                <a:chOff x="15988148" y="12327942"/>
                <a:chExt cx="2345193" cy="769760"/>
              </a:xfrm>
            </p:grpSpPr>
            <p:sp>
              <p:nvSpPr>
                <p:cNvPr id="189" name="Скругленный прямоугольник 26">
                  <a:extLst>
                    <a:ext uri="{FF2B5EF4-FFF2-40B4-BE49-F238E27FC236}">
                      <a16:creationId xmlns:a16="http://schemas.microsoft.com/office/drawing/2014/main" id="{816478E3-1563-EBA8-A795-0823CA8BD94D}"/>
                    </a:ext>
                  </a:extLst>
                </p:cNvPr>
                <p:cNvSpPr/>
                <p:nvPr/>
              </p:nvSpPr>
              <p:spPr>
                <a:xfrm rot="669635">
                  <a:off x="15988148" y="12327942"/>
                  <a:ext cx="2345193" cy="769760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accent4"/>
                </a:solidFill>
                <a:ln>
                  <a:gradFill flip="none" rotWithShape="1">
                    <a:gsLst>
                      <a:gs pos="0">
                        <a:schemeClr val="bg2">
                          <a:alpha val="50000"/>
                        </a:schemeClr>
                      </a:gs>
                      <a:gs pos="100000">
                        <a:schemeClr val="bg1">
                          <a:alpha val="10000"/>
                        </a:schemeClr>
                      </a:gs>
                    </a:gsLst>
                    <a:lin ang="0" scaled="1"/>
                    <a:tileRect/>
                  </a:gra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sz="2800" dirty="0"/>
                </a:p>
              </p:txBody>
            </p:sp>
            <p:pic>
              <p:nvPicPr>
                <p:cNvPr id="190" name="Graphic 189">
                  <a:extLst>
                    <a:ext uri="{FF2B5EF4-FFF2-40B4-BE49-F238E27FC236}">
                      <a16:creationId xmlns:a16="http://schemas.microsoft.com/office/drawing/2014/main" id="{869CF319-6D35-59B2-C1BA-D287D0572B4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 rot="669635">
                  <a:off x="16281241" y="12420928"/>
                  <a:ext cx="278894" cy="267922"/>
                </a:xfrm>
                <a:prstGeom prst="rect">
                  <a:avLst/>
                </a:prstGeom>
              </p:spPr>
            </p:pic>
            <p:pic>
              <p:nvPicPr>
                <p:cNvPr id="191" name="Graphic 190">
                  <a:extLst>
                    <a:ext uri="{FF2B5EF4-FFF2-40B4-BE49-F238E27FC236}">
                      <a16:creationId xmlns:a16="http://schemas.microsoft.com/office/drawing/2014/main" id="{C02A4458-A8DB-68B5-072B-0B49C1B7643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p:blipFill>
              <p:spPr>
                <a:xfrm rot="669635">
                  <a:off x="16652402" y="12494154"/>
                  <a:ext cx="278894" cy="267922"/>
                </a:xfrm>
                <a:prstGeom prst="rect">
                  <a:avLst/>
                </a:prstGeom>
              </p:spPr>
            </p:pic>
            <p:pic>
              <p:nvPicPr>
                <p:cNvPr id="192" name="Graphic 191">
                  <a:extLst>
                    <a:ext uri="{FF2B5EF4-FFF2-40B4-BE49-F238E27FC236}">
                      <a16:creationId xmlns:a16="http://schemas.microsoft.com/office/drawing/2014/main" id="{11C81741-0DD0-8665-F97E-AD265FA44FE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p:blipFill>
              <p:spPr>
                <a:xfrm rot="669635">
                  <a:off x="17023562" y="12567381"/>
                  <a:ext cx="278894" cy="267922"/>
                </a:xfrm>
                <a:prstGeom prst="rect">
                  <a:avLst/>
                </a:prstGeom>
              </p:spPr>
            </p:pic>
            <p:pic>
              <p:nvPicPr>
                <p:cNvPr id="193" name="Graphic 192">
                  <a:extLst>
                    <a:ext uri="{FF2B5EF4-FFF2-40B4-BE49-F238E27FC236}">
                      <a16:creationId xmlns:a16="http://schemas.microsoft.com/office/drawing/2014/main" id="{62505A77-2952-D880-BA34-8B4D554AB97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p:blipFill>
              <p:spPr>
                <a:xfrm rot="669635">
                  <a:off x="17394723" y="12640607"/>
                  <a:ext cx="278894" cy="267922"/>
                </a:xfrm>
                <a:prstGeom prst="rect">
                  <a:avLst/>
                </a:prstGeom>
              </p:spPr>
            </p:pic>
            <p:pic>
              <p:nvPicPr>
                <p:cNvPr id="194" name="Graphic 193">
                  <a:extLst>
                    <a:ext uri="{FF2B5EF4-FFF2-40B4-BE49-F238E27FC236}">
                      <a16:creationId xmlns:a16="http://schemas.microsoft.com/office/drawing/2014/main" id="{E2C796E8-289C-F003-E95A-80E76D0643A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p:blipFill>
              <p:spPr>
                <a:xfrm rot="669635">
                  <a:off x="17765884" y="12713834"/>
                  <a:ext cx="278894" cy="267922"/>
                </a:xfrm>
                <a:prstGeom prst="rect">
                  <a:avLst/>
                </a:prstGeom>
              </p:spPr>
            </p:pic>
          </p:grpSp>
          <p:pic>
            <p:nvPicPr>
              <p:cNvPr id="183" name="Picture 182">
                <a:extLst>
                  <a:ext uri="{FF2B5EF4-FFF2-40B4-BE49-F238E27FC236}">
                    <a16:creationId xmlns:a16="http://schemas.microsoft.com/office/drawing/2014/main" id="{544C4F87-33C4-C986-7526-92C47AFB986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rcRect l="8791" t="27686" r="18754"/>
              <a:stretch>
                <a:fillRect/>
              </a:stretch>
            </p:blipFill>
            <p:spPr>
              <a:xfrm>
                <a:off x="17688246" y="5185018"/>
                <a:ext cx="5091164" cy="5081255"/>
              </a:xfrm>
              <a:custGeom>
                <a:avLst/>
                <a:gdLst>
                  <a:gd name="connsiteX0" fmla="*/ 1146520 w 5091164"/>
                  <a:gd name="connsiteY0" fmla="*/ 28 h 5081255"/>
                  <a:gd name="connsiteX1" fmla="*/ 1227649 w 5091164"/>
                  <a:gd name="connsiteY1" fmla="*/ 4823 h 5081255"/>
                  <a:gd name="connsiteX2" fmla="*/ 4383983 w 5091164"/>
                  <a:gd name="connsiteY2" fmla="*/ 351799 h 5081255"/>
                  <a:gd name="connsiteX3" fmla="*/ 5086342 w 5091164"/>
                  <a:gd name="connsiteY3" fmla="*/ 1227650 h 5081255"/>
                  <a:gd name="connsiteX4" fmla="*/ 4739367 w 5091164"/>
                  <a:gd name="connsiteY4" fmla="*/ 4383979 h 5081255"/>
                  <a:gd name="connsiteX5" fmla="*/ 4102071 w 5091164"/>
                  <a:gd name="connsiteY5" fmla="*/ 5076657 h 5081255"/>
                  <a:gd name="connsiteX6" fmla="*/ 4069952 w 5091164"/>
                  <a:gd name="connsiteY6" fmla="*/ 5081255 h 5081255"/>
                  <a:gd name="connsiteX7" fmla="*/ 3817277 w 5091164"/>
                  <a:gd name="connsiteY7" fmla="*/ 5081255 h 5081255"/>
                  <a:gd name="connsiteX8" fmla="*/ 707182 w 5091164"/>
                  <a:gd name="connsiteY8" fmla="*/ 4739362 h 5081255"/>
                  <a:gd name="connsiteX9" fmla="*/ 4823 w 5091164"/>
                  <a:gd name="connsiteY9" fmla="*/ 3863511 h 5081255"/>
                  <a:gd name="connsiteX10" fmla="*/ 351798 w 5091164"/>
                  <a:gd name="connsiteY10" fmla="*/ 707182 h 5081255"/>
                  <a:gd name="connsiteX11" fmla="*/ 1146520 w 5091164"/>
                  <a:gd name="connsiteY11" fmla="*/ 28 h 508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091164" h="5081255">
                    <a:moveTo>
                      <a:pt x="1146520" y="28"/>
                    </a:moveTo>
                    <a:cubicBezTo>
                      <a:pt x="1173344" y="250"/>
                      <a:pt x="1200411" y="1829"/>
                      <a:pt x="1227649" y="4823"/>
                    </a:cubicBezTo>
                    <a:lnTo>
                      <a:pt x="4383983" y="351799"/>
                    </a:lnTo>
                    <a:cubicBezTo>
                      <a:pt x="4819793" y="399708"/>
                      <a:pt x="5134250" y="791840"/>
                      <a:pt x="5086342" y="1227650"/>
                    </a:cubicBezTo>
                    <a:lnTo>
                      <a:pt x="4739367" y="4383979"/>
                    </a:lnTo>
                    <a:cubicBezTo>
                      <a:pt x="4700441" y="4738075"/>
                      <a:pt x="4434274" y="5012059"/>
                      <a:pt x="4102071" y="5076657"/>
                    </a:cubicBezTo>
                    <a:lnTo>
                      <a:pt x="4069952" y="5081255"/>
                    </a:lnTo>
                    <a:lnTo>
                      <a:pt x="3817277" y="5081255"/>
                    </a:lnTo>
                    <a:lnTo>
                      <a:pt x="707182" y="4739362"/>
                    </a:lnTo>
                    <a:cubicBezTo>
                      <a:pt x="271371" y="4691454"/>
                      <a:pt x="-43086" y="4299321"/>
                      <a:pt x="4823" y="3863511"/>
                    </a:cubicBezTo>
                    <a:lnTo>
                      <a:pt x="351798" y="707182"/>
                    </a:lnTo>
                    <a:cubicBezTo>
                      <a:pt x="396712" y="298610"/>
                      <a:pt x="744167" y="-3304"/>
                      <a:pt x="1146520" y="28"/>
                    </a:cubicBezTo>
                    <a:close/>
                  </a:path>
                </a:pathLst>
              </a:custGeom>
            </p:spPr>
          </p:pic>
          <p:grpSp>
            <p:nvGrpSpPr>
              <p:cNvPr id="184" name="Group 183">
                <a:extLst>
                  <a:ext uri="{FF2B5EF4-FFF2-40B4-BE49-F238E27FC236}">
                    <a16:creationId xmlns:a16="http://schemas.microsoft.com/office/drawing/2014/main" id="{B65FD989-C495-0D0C-8763-F44E12819682}"/>
                  </a:ext>
                </a:extLst>
              </p:cNvPr>
              <p:cNvGrpSpPr/>
              <p:nvPr/>
            </p:nvGrpSpPr>
            <p:grpSpPr>
              <a:xfrm>
                <a:off x="21834660" y="9291078"/>
                <a:ext cx="1150593" cy="1393829"/>
                <a:chOff x="21695038" y="10414768"/>
                <a:chExt cx="931008" cy="1127823"/>
              </a:xfrm>
            </p:grpSpPr>
            <p:grpSp>
              <p:nvGrpSpPr>
                <p:cNvPr id="185" name="Group 184">
                  <a:extLst>
                    <a:ext uri="{FF2B5EF4-FFF2-40B4-BE49-F238E27FC236}">
                      <a16:creationId xmlns:a16="http://schemas.microsoft.com/office/drawing/2014/main" id="{30FAA2ED-181A-DEA5-5229-58237A302A16}"/>
                    </a:ext>
                  </a:extLst>
                </p:cNvPr>
                <p:cNvGrpSpPr/>
                <p:nvPr/>
              </p:nvGrpSpPr>
              <p:grpSpPr>
                <a:xfrm rot="20233346">
                  <a:off x="21695038" y="10414768"/>
                  <a:ext cx="816107" cy="816107"/>
                  <a:chOff x="27773815" y="5558076"/>
                  <a:chExt cx="3124728" cy="3124728"/>
                </a:xfrm>
                <a:effectLst>
                  <a:outerShdw blurRad="571500" dist="114300" dir="16200000" rotWithShape="0">
                    <a:srgbClr val="6C9EAA">
                      <a:alpha val="49804"/>
                    </a:srgbClr>
                  </a:outerShdw>
                </a:effectLst>
              </p:grpSpPr>
              <p:sp>
                <p:nvSpPr>
                  <p:cNvPr id="187" name="Rectangle: Rounded Corners 186">
                    <a:extLst>
                      <a:ext uri="{FF2B5EF4-FFF2-40B4-BE49-F238E27FC236}">
                        <a16:creationId xmlns:a16="http://schemas.microsoft.com/office/drawing/2014/main" id="{30914AF3-3A50-7358-70B2-BB9AC48DAE63}"/>
                      </a:ext>
                    </a:extLst>
                  </p:cNvPr>
                  <p:cNvSpPr/>
                  <p:nvPr/>
                </p:nvSpPr>
                <p:spPr>
                  <a:xfrm>
                    <a:off x="27773815" y="5558076"/>
                    <a:ext cx="3124728" cy="3124728"/>
                  </a:xfrm>
                  <a:prstGeom prst="roundRect">
                    <a:avLst>
                      <a:gd name="adj" fmla="val 32870"/>
                    </a:avLst>
                  </a:prstGeom>
                  <a:solidFill>
                    <a:srgbClr val="F2F2F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0" tIns="180000" rIns="180000" bIns="180000" rtlCol="0" anchor="t"/>
                  <a:lstStyle/>
                  <a:p>
                    <a:pPr algn="l"/>
                    <a:endParaRPr lang="ru-RU" sz="4000" dirty="0" err="1">
                      <a:solidFill>
                        <a:schemeClr val="tx1"/>
                      </a:solidFill>
                    </a:endParaRPr>
                  </a:p>
                </p:txBody>
              </p:sp>
              <p:pic>
                <p:nvPicPr>
                  <p:cNvPr id="188" name="Graphic 187">
                    <a:extLst>
                      <a:ext uri="{FF2B5EF4-FFF2-40B4-BE49-F238E27FC236}">
                        <a16:creationId xmlns:a16="http://schemas.microsoft.com/office/drawing/2014/main" id="{7769A751-4F35-8898-4A9D-7605E8BBDDA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3">
                    <a:extLst>
                      <a:ext uri="{96DAC541-7B7A-43D3-8B79-37D633B846F1}">
                        <asvg:svgBlip xmlns:asvg="http://schemas.microsoft.com/office/drawing/2016/SVG/main" r:embed="rId14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28606973" y="6017991"/>
                    <a:ext cx="1458414" cy="2204898"/>
                  </a:xfrm>
                  <a:prstGeom prst="rect">
                    <a:avLst/>
                  </a:prstGeom>
                </p:spPr>
              </p:pic>
            </p:grpSp>
            <p:sp>
              <p:nvSpPr>
                <p:cNvPr id="186" name="TextBox 185">
                  <a:extLst>
                    <a:ext uri="{FF2B5EF4-FFF2-40B4-BE49-F238E27FC236}">
                      <a16:creationId xmlns:a16="http://schemas.microsoft.com/office/drawing/2014/main" id="{8E0B0DFA-8F07-4A1A-EF30-F16F9D7C3455}"/>
                    </a:ext>
                  </a:extLst>
                </p:cNvPr>
                <p:cNvSpPr txBox="1"/>
                <p:nvPr/>
              </p:nvSpPr>
              <p:spPr>
                <a:xfrm rot="20153049">
                  <a:off x="22099433" y="11243744"/>
                  <a:ext cx="526613" cy="298847"/>
                </a:xfrm>
                <a:prstGeom prst="rect">
                  <a:avLst/>
                </a:prstGeom>
              </p:spPr>
              <p:txBody>
                <a:bodyPr vert="horz" wrap="none" lIns="0" tIns="0" rIns="0" bIns="0" rtlCol="0">
                  <a:spAutoFit/>
                </a:bodyPr>
                <a:lstStyle>
                  <a:lvl1pPr lvl="0" indent="0" defTabSz="1828619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>
                      <a:schemeClr val="tx2"/>
                    </a:buClr>
                    <a:buFontTx/>
                    <a:buNone/>
                    <a:defRPr sz="3200" b="0" i="0">
                      <a:latin typeface="YS Text Regular" pitchFamily="2" charset="0"/>
                      <a:cs typeface="YS Text Regular" pitchFamily="2" charset="0"/>
                    </a:defRPr>
                  </a:lvl1pPr>
                  <a:lvl2pPr marL="36" marR="0" lvl="1" indent="0" defTabSz="1907905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>
                      <a:schemeClr val="bg2"/>
                    </a:buClr>
                    <a:buSzPct val="120000"/>
                    <a:buFont typeface="Arial Unicode MS" panose="020B0604020202020204" pitchFamily="34" charset="-128"/>
                    <a:buNone/>
                    <a:tabLst/>
                    <a:defRPr sz="3200" b="0" i="0" baseline="0">
                      <a:latin typeface="YS Text Regular" pitchFamily="2" charset="0"/>
                      <a:cs typeface="YS Text Regular" pitchFamily="2" charset="0"/>
                    </a:defRPr>
                  </a:lvl2pPr>
                  <a:lvl3pPr marL="461237" marR="0" lvl="2" indent="-457200" defTabSz="1828619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Pct val="100000"/>
                    <a:buFont typeface="Arial" panose="020B0604020202020204" pitchFamily="34" charset="0"/>
                    <a:buChar char="•"/>
                    <a:tabLst/>
                    <a:defRPr sz="3200" b="0" i="0">
                      <a:latin typeface="YS Text Regular" pitchFamily="2" charset="0"/>
                      <a:cs typeface="YS Text Regular" pitchFamily="2" charset="0"/>
                    </a:defRPr>
                  </a:lvl3pPr>
                  <a:lvl4pPr marL="1080000" lvl="3" indent="-457200" defTabSz="1828619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Font typeface="System Font Regular"/>
                    <a:buChar char="−"/>
                    <a:tabLst/>
                    <a:defRPr sz="3200" b="0" i="0">
                      <a:latin typeface="YS Text Regular" pitchFamily="2" charset="0"/>
                      <a:cs typeface="YS Text Regular" pitchFamily="2" charset="0"/>
                    </a:defRPr>
                  </a:lvl4pPr>
                  <a:lvl5pPr marL="0" lvl="4" indent="0" defTabSz="1828619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>
                      <a:schemeClr val="tx2"/>
                    </a:buClr>
                    <a:buFontTx/>
                    <a:buNone/>
                    <a:defRPr sz="3200" b="0" i="0" baseline="0">
                      <a:latin typeface="YS Text Regular" pitchFamily="2" charset="0"/>
                      <a:cs typeface="YS Text Regular" pitchFamily="2" charset="0"/>
                    </a:defRPr>
                  </a:lvl5pPr>
                  <a:lvl6pPr marL="5028699" indent="-457155" defTabSz="1828619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</a:lvl6pPr>
                  <a:lvl7pPr marL="5943007" indent="-457155" defTabSz="1828619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</a:lvl7pPr>
                  <a:lvl8pPr marL="6857315" indent="-457155" defTabSz="1828619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</a:lvl8pPr>
                  <a:lvl9pPr marL="7771623" indent="-457155" defTabSz="1828619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</a:lvl9pPr>
                </a:lstStyle>
                <a:p>
                  <a:r>
                    <a:rPr lang="en-US" sz="2400" dirty="0">
                      <a:solidFill>
                        <a:schemeClr val="accent2">
                          <a:lumMod val="90000"/>
                        </a:schemeClr>
                      </a:solidFill>
                    </a:rPr>
                    <a:t>Click</a:t>
                  </a:r>
                  <a:endParaRPr lang="ru-RU" sz="2400" dirty="0">
                    <a:solidFill>
                      <a:schemeClr val="accent2">
                        <a:lumMod val="90000"/>
                      </a:schemeClr>
                    </a:solidFill>
                  </a:endParaRPr>
                </a:p>
              </p:txBody>
            </p:sp>
          </p:grpSp>
        </p:grpSp>
      </p:grpSp>
      <p:pic>
        <p:nvPicPr>
          <p:cNvPr id="205" name="Picture 204">
            <a:extLst>
              <a:ext uri="{FF2B5EF4-FFF2-40B4-BE49-F238E27FC236}">
                <a16:creationId xmlns:a16="http://schemas.microsoft.com/office/drawing/2014/main" id="{12200487-2B06-FD52-84D4-30A5E81A83F6}"/>
              </a:ext>
            </a:extLst>
          </p:cNvPr>
          <p:cNvPicPr>
            <a:picLocks noChangeAspect="1"/>
          </p:cNvPicPr>
          <p:nvPr/>
        </p:nvPicPr>
        <p:blipFill>
          <a:blip r:embed="rId15"/>
          <a:srcRect/>
          <a:stretch>
            <a:fillRect/>
          </a:stretch>
        </p:blipFill>
        <p:spPr>
          <a:xfrm>
            <a:off x="24024804" y="4589790"/>
            <a:ext cx="5207245" cy="10626242"/>
          </a:xfrm>
          <a:custGeom>
            <a:avLst/>
            <a:gdLst>
              <a:gd name="connsiteX0" fmla="*/ 0 w 4788146"/>
              <a:gd name="connsiteY0" fmla="*/ 0 h 9771001"/>
              <a:gd name="connsiteX1" fmla="*/ 4788146 w 4788146"/>
              <a:gd name="connsiteY1" fmla="*/ 0 h 9771001"/>
              <a:gd name="connsiteX2" fmla="*/ 4788146 w 4788146"/>
              <a:gd name="connsiteY2" fmla="*/ 6426238 h 9771001"/>
              <a:gd name="connsiteX3" fmla="*/ 2959228 w 4788146"/>
              <a:gd name="connsiteY3" fmla="*/ 6426238 h 9771001"/>
              <a:gd name="connsiteX4" fmla="*/ 2959228 w 4788146"/>
              <a:gd name="connsiteY4" fmla="*/ 4885500 h 9771001"/>
              <a:gd name="connsiteX5" fmla="*/ 886758 w 4788146"/>
              <a:gd name="connsiteY5" fmla="*/ 4885500 h 9771001"/>
              <a:gd name="connsiteX6" fmla="*/ 886758 w 4788146"/>
              <a:gd name="connsiteY6" fmla="*/ 9155330 h 9771001"/>
              <a:gd name="connsiteX7" fmla="*/ 2959228 w 4788146"/>
              <a:gd name="connsiteY7" fmla="*/ 9155330 h 9771001"/>
              <a:gd name="connsiteX8" fmla="*/ 2959228 w 4788146"/>
              <a:gd name="connsiteY8" fmla="*/ 9155329 h 9771001"/>
              <a:gd name="connsiteX9" fmla="*/ 4788146 w 4788146"/>
              <a:gd name="connsiteY9" fmla="*/ 9155329 h 9771001"/>
              <a:gd name="connsiteX10" fmla="*/ 4788146 w 4788146"/>
              <a:gd name="connsiteY10" fmla="*/ 9771001 h 9771001"/>
              <a:gd name="connsiteX11" fmla="*/ 0 w 4788146"/>
              <a:gd name="connsiteY11" fmla="*/ 9771001 h 9771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788146" h="9771001">
                <a:moveTo>
                  <a:pt x="0" y="0"/>
                </a:moveTo>
                <a:lnTo>
                  <a:pt x="4788146" y="0"/>
                </a:lnTo>
                <a:lnTo>
                  <a:pt x="4788146" y="6426238"/>
                </a:lnTo>
                <a:lnTo>
                  <a:pt x="2959228" y="6426238"/>
                </a:lnTo>
                <a:lnTo>
                  <a:pt x="2959228" y="4885500"/>
                </a:lnTo>
                <a:lnTo>
                  <a:pt x="886758" y="4885500"/>
                </a:lnTo>
                <a:lnTo>
                  <a:pt x="886758" y="9155330"/>
                </a:lnTo>
                <a:lnTo>
                  <a:pt x="2959228" y="9155330"/>
                </a:lnTo>
                <a:lnTo>
                  <a:pt x="2959228" y="9155329"/>
                </a:lnTo>
                <a:lnTo>
                  <a:pt x="4788146" y="9155329"/>
                </a:lnTo>
                <a:lnTo>
                  <a:pt x="4788146" y="9771001"/>
                </a:lnTo>
                <a:lnTo>
                  <a:pt x="0" y="977100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37452745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3EDAB40-79FE-C102-98DA-5114ED39E1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92751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EDAB40-79FE-C102-98DA-5114ED39E1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892CCCE1-8522-3EDD-0DCA-A44A10E040BA}"/>
              </a:ext>
            </a:extLst>
          </p:cNvPr>
          <p:cNvGrpSpPr/>
          <p:nvPr/>
        </p:nvGrpSpPr>
        <p:grpSpPr>
          <a:xfrm>
            <a:off x="9228659" y="5649692"/>
            <a:ext cx="5925095" cy="8066309"/>
            <a:chOff x="9169666" y="5649692"/>
            <a:chExt cx="5925095" cy="8066309"/>
          </a:xfrm>
        </p:grpSpPr>
        <p:cxnSp>
          <p:nvCxnSpPr>
            <p:cNvPr id="3" name="Прямая соединительная линия 41">
              <a:extLst>
                <a:ext uri="{FF2B5EF4-FFF2-40B4-BE49-F238E27FC236}">
                  <a16:creationId xmlns:a16="http://schemas.microsoft.com/office/drawing/2014/main" id="{DAE0F5D3-7474-BF10-EC35-D056D2E1667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169666" y="5649693"/>
              <a:ext cx="0" cy="8066308"/>
            </a:xfrm>
            <a:prstGeom prst="line">
              <a:avLst/>
            </a:prstGeom>
            <a:ln w="31750" cap="sq" cmpd="sng">
              <a:gradFill flip="none" rotWithShape="1">
                <a:gsLst>
                  <a:gs pos="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5400000" scaled="1"/>
                <a:tileRect/>
              </a:gradFill>
              <a:prstDash val="solid"/>
              <a:bevel/>
              <a:headEnd type="none" w="med" len="med"/>
              <a:tailEnd type="none" w="med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44DCC9B6-3008-95B3-2AE7-2CF75B56ED6C}"/>
                </a:ext>
              </a:extLst>
            </p:cNvPr>
            <p:cNvGrpSpPr/>
            <p:nvPr/>
          </p:nvGrpSpPr>
          <p:grpSpPr>
            <a:xfrm>
              <a:off x="9759602" y="5649692"/>
              <a:ext cx="5335159" cy="5710958"/>
              <a:chOff x="9678700" y="5649692"/>
              <a:chExt cx="5335159" cy="5710958"/>
            </a:xfrm>
          </p:grpSpPr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441CDBC1-3C02-DC5A-3DE8-387B6A3F3FE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678701" y="10031055"/>
                <a:ext cx="5335158" cy="132959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800"/>
                  </a:spcAft>
                </a:pPr>
                <a:r>
                  <a:rPr lang="ru-RU" sz="3200" dirty="0">
                    <a:solidFill>
                      <a:schemeClr val="bg1">
                        <a:lumMod val="85000"/>
                      </a:schemeClr>
                    </a:solidFill>
                  </a:rPr>
                  <a:t>чтобы пользователь</a:t>
                </a:r>
                <a:br>
                  <a:rPr lang="ru-RU" sz="3200" dirty="0">
                    <a:solidFill>
                      <a:schemeClr val="bg1">
                        <a:lumMod val="85000"/>
                      </a:schemeClr>
                    </a:solidFill>
                  </a:rPr>
                </a:br>
                <a:r>
                  <a:rPr lang="ru-RU" sz="3200" dirty="0">
                    <a:solidFill>
                      <a:schemeClr val="bg1">
                        <a:lumMod val="85000"/>
                      </a:schemeClr>
                    </a:solidFill>
                  </a:rPr>
                  <a:t>верил, что находит</a:t>
                </a:r>
                <a:br>
                  <a:rPr lang="ru-RU" sz="3200" dirty="0">
                    <a:solidFill>
                      <a:schemeClr val="bg1">
                        <a:lumMod val="85000"/>
                      </a:schemeClr>
                    </a:solidFill>
                  </a:rPr>
                </a:br>
                <a:r>
                  <a:rPr lang="ru-RU" sz="3200" dirty="0">
                    <a:solidFill>
                      <a:schemeClr val="bg1">
                        <a:lumMod val="85000"/>
                      </a:schemeClr>
                    </a:solidFill>
                  </a:rPr>
                  <a:t>для себя лучшее </a:t>
                </a:r>
                <a:br>
                  <a:rPr lang="en-US" sz="3200" dirty="0">
                    <a:solidFill>
                      <a:schemeClr val="bg1">
                        <a:lumMod val="85000"/>
                      </a:schemeClr>
                    </a:solidFill>
                  </a:rPr>
                </a:br>
                <a:r>
                  <a:rPr lang="ru-RU" sz="3200" dirty="0">
                    <a:solidFill>
                      <a:schemeClr val="bg1">
                        <a:lumMod val="85000"/>
                      </a:schemeClr>
                    </a:solidFill>
                  </a:rPr>
                  <a:t>решение</a:t>
                </a:r>
              </a:p>
            </p:txBody>
          </p:sp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ECFBD414-5C94-B5E3-7186-7B7F3EC17E9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678701" y="6670436"/>
                <a:ext cx="5335158" cy="1088888"/>
              </a:xfrm>
              <a:prstGeom prst="rect">
                <a:avLst/>
              </a:prstGeom>
              <a:noFill/>
              <a:ln/>
            </p:spPr>
            <p:txBody>
              <a:bodyPr wrap="square" lIns="0" tIns="0" rIns="0" bIns="0" rtlCol="0" anchor="t">
                <a:noAutofit/>
              </a:bodyPr>
              <a:lstStyle>
                <a:defPPr>
                  <a:defRPr lang="ru-RU"/>
                </a:defPPr>
                <a:lvl1pPr defTabSz="914217">
                  <a:lnSpc>
                    <a:spcPct val="80000"/>
                  </a:lnSpc>
                  <a:defRPr sz="4000" kern="0" spc="43">
                    <a:solidFill>
                      <a:schemeClr val="bg1"/>
                    </a:solidFill>
                    <a:latin typeface="YS Geo Medium" pitchFamily="34" charset="0"/>
                    <a:cs typeface="YS Geo Medium" pitchFamily="34" charset="-120"/>
                  </a:defRPr>
                </a:lvl1pPr>
              </a:lstStyle>
              <a:p>
                <a:r>
                  <a:rPr lang="ru-RU" sz="4400" dirty="0" err="1"/>
                  <a:t>приоритизируйте</a:t>
                </a:r>
                <a:br>
                  <a:rPr lang="ru-RU" sz="4400" dirty="0"/>
                </a:br>
                <a:r>
                  <a:rPr lang="ru-RU" sz="4400" dirty="0"/>
                  <a:t>рациональность</a:t>
                </a:r>
              </a:p>
            </p:txBody>
          </p:sp>
          <p:sp>
            <p:nvSpPr>
              <p:cNvPr id="15" name="Oval 7">
                <a:extLst>
                  <a:ext uri="{FF2B5EF4-FFF2-40B4-BE49-F238E27FC236}">
                    <a16:creationId xmlns:a16="http://schemas.microsoft.com/office/drawing/2014/main" id="{5686F2E7-2EA3-722D-D74B-92DEEA24421E}"/>
                  </a:ext>
                </a:extLst>
              </p:cNvPr>
              <p:cNvSpPr/>
              <p:nvPr/>
            </p:nvSpPr>
            <p:spPr>
              <a:xfrm>
                <a:off x="9678700" y="5649692"/>
                <a:ext cx="697620" cy="697620"/>
              </a:xfrm>
              <a:prstGeom prst="ellips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ru-RU" sz="3200" dirty="0">
                    <a:solidFill>
                      <a:schemeClr val="bg1"/>
                    </a:solidFill>
                    <a:latin typeface="+mj-lt"/>
                  </a:rPr>
                  <a:t>2</a:t>
                </a:r>
                <a:endParaRPr lang="en-GB" sz="32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sp>
        <p:nvSpPr>
          <p:cNvPr id="49" name="Rectangle 48">
            <a:extLst>
              <a:ext uri="{FF2B5EF4-FFF2-40B4-BE49-F238E27FC236}">
                <a16:creationId xmlns:a16="http://schemas.microsoft.com/office/drawing/2014/main" id="{BB1CBF23-3787-34F5-95EC-09E0F9014FA0}"/>
              </a:ext>
            </a:extLst>
          </p:cNvPr>
          <p:cNvSpPr/>
          <p:nvPr/>
        </p:nvSpPr>
        <p:spPr>
          <a:xfrm>
            <a:off x="8879951" y="5081079"/>
            <a:ext cx="7300685" cy="8634921"/>
          </a:xfrm>
          <a:prstGeom prst="rect">
            <a:avLst/>
          </a:prstGeom>
          <a:solidFill>
            <a:srgbClr val="292B31">
              <a:alpha val="5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l"/>
            <a:endParaRPr lang="en-GB" sz="3200" dirty="0" err="1">
              <a:solidFill>
                <a:schemeClr val="tx1"/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FB075C7-7470-9880-582A-C4483BBB63F4}"/>
              </a:ext>
            </a:extLst>
          </p:cNvPr>
          <p:cNvGrpSpPr/>
          <p:nvPr/>
        </p:nvGrpSpPr>
        <p:grpSpPr>
          <a:xfrm>
            <a:off x="1651782" y="5649692"/>
            <a:ext cx="5925095" cy="8066309"/>
            <a:chOff x="1740273" y="5649692"/>
            <a:chExt cx="5925095" cy="8066309"/>
          </a:xfrm>
        </p:grpSpPr>
        <p:cxnSp>
          <p:nvCxnSpPr>
            <p:cNvPr id="22" name="Прямая соединительная линия 41">
              <a:extLst>
                <a:ext uri="{FF2B5EF4-FFF2-40B4-BE49-F238E27FC236}">
                  <a16:creationId xmlns:a16="http://schemas.microsoft.com/office/drawing/2014/main" id="{8E3F81A8-EF81-BA46-D5D2-E84510563C1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40273" y="5649693"/>
              <a:ext cx="0" cy="8066308"/>
            </a:xfrm>
            <a:prstGeom prst="line">
              <a:avLst/>
            </a:prstGeom>
            <a:ln w="31750" cap="sq" cmpd="sng">
              <a:gradFill flip="none" rotWithShape="1">
                <a:gsLst>
                  <a:gs pos="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5400000" scaled="1"/>
                <a:tileRect/>
              </a:gradFill>
              <a:prstDash val="solid"/>
              <a:bevel/>
              <a:headEnd type="none" w="med" len="med"/>
              <a:tailEnd type="none" w="med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462C1B43-4ABF-41D9-A900-DCD2B40747D4}"/>
                </a:ext>
              </a:extLst>
            </p:cNvPr>
            <p:cNvGrpSpPr/>
            <p:nvPr/>
          </p:nvGrpSpPr>
          <p:grpSpPr>
            <a:xfrm>
              <a:off x="2330209" y="5649692"/>
              <a:ext cx="5335159" cy="5267760"/>
              <a:chOff x="1898207" y="5649692"/>
              <a:chExt cx="5335159" cy="5267760"/>
            </a:xfrm>
          </p:grpSpPr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8B4547E7-6498-817C-4C59-568D6F9BEE7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898208" y="10031055"/>
                <a:ext cx="5335158" cy="88639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800"/>
                  </a:spcAft>
                </a:pPr>
                <a:r>
                  <a:rPr lang="ru-RU" sz="3200" dirty="0">
                    <a:solidFill>
                      <a:schemeClr val="bg1">
                        <a:lumMod val="85000"/>
                      </a:schemeClr>
                    </a:solidFill>
                  </a:rPr>
                  <a:t>чтобы точнее попадать </a:t>
                </a:r>
                <a:br>
                  <a:rPr lang="ru-RU" sz="3200" dirty="0">
                    <a:solidFill>
                      <a:schemeClr val="bg1">
                        <a:lumMod val="85000"/>
                      </a:schemeClr>
                    </a:solidFill>
                  </a:rPr>
                </a:br>
                <a:r>
                  <a:rPr lang="ru-RU" sz="3200" dirty="0">
                    <a:solidFill>
                      <a:schemeClr val="bg1">
                        <a:lumMod val="85000"/>
                      </a:schemeClr>
                    </a:solidFill>
                  </a:rPr>
                  <a:t>в запросы разных аудиторий</a:t>
                </a: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AF057E1A-4985-2ADA-E755-85EAA3FE056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898208" y="6670436"/>
                <a:ext cx="5335158" cy="1630575"/>
              </a:xfrm>
              <a:prstGeom prst="rect">
                <a:avLst/>
              </a:prstGeom>
              <a:noFill/>
              <a:ln/>
            </p:spPr>
            <p:txBody>
              <a:bodyPr wrap="square" lIns="0" tIns="0" rIns="0" bIns="0" rtlCol="0" anchor="t">
                <a:noAutofit/>
              </a:bodyPr>
              <a:lstStyle>
                <a:defPPr>
                  <a:defRPr lang="ru-RU"/>
                </a:defPPr>
                <a:lvl1pPr defTabSz="914217">
                  <a:lnSpc>
                    <a:spcPct val="80000"/>
                  </a:lnSpc>
                  <a:defRPr sz="4000" kern="0" spc="43">
                    <a:solidFill>
                      <a:schemeClr val="bg1"/>
                    </a:solidFill>
                    <a:latin typeface="YS Geo Medium" pitchFamily="34" charset="0"/>
                    <a:cs typeface="YS Geo Medium" pitchFamily="34" charset="-120"/>
                  </a:defRPr>
                </a:lvl1pPr>
              </a:lstStyle>
              <a:p>
                <a:r>
                  <a:rPr lang="ru-RU" sz="4400" dirty="0"/>
                  <a:t>таргетируйте </a:t>
                </a:r>
                <a:br>
                  <a:rPr lang="en-US" sz="4400" dirty="0"/>
                </a:br>
                <a:r>
                  <a:rPr lang="ru-RU" sz="4400" dirty="0"/>
                  <a:t>по поведению, </a:t>
                </a:r>
                <a:br>
                  <a:rPr lang="en-US" sz="4400" dirty="0"/>
                </a:br>
                <a:r>
                  <a:rPr lang="ru-RU" sz="4400" dirty="0"/>
                  <a:t>а не по демографии</a:t>
                </a:r>
              </a:p>
            </p:txBody>
          </p:sp>
          <p:sp>
            <p:nvSpPr>
              <p:cNvPr id="14" name="Oval 7">
                <a:extLst>
                  <a:ext uri="{FF2B5EF4-FFF2-40B4-BE49-F238E27FC236}">
                    <a16:creationId xmlns:a16="http://schemas.microsoft.com/office/drawing/2014/main" id="{59C428B6-AF9D-68FF-33DC-6546390DEFFB}"/>
                  </a:ext>
                </a:extLst>
              </p:cNvPr>
              <p:cNvSpPr/>
              <p:nvPr/>
            </p:nvSpPr>
            <p:spPr>
              <a:xfrm>
                <a:off x="1898207" y="5649692"/>
                <a:ext cx="697620" cy="697620"/>
              </a:xfrm>
              <a:prstGeom prst="ellips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3200" dirty="0">
                    <a:solidFill>
                      <a:schemeClr val="bg1"/>
                    </a:solidFill>
                    <a:latin typeface="+mj-lt"/>
                  </a:rPr>
                  <a:t>1</a:t>
                </a:r>
              </a:p>
            </p:txBody>
          </p:sp>
        </p:grpSp>
      </p:grpSp>
      <p:sp>
        <p:nvSpPr>
          <p:cNvPr id="117" name="Rectangle 116">
            <a:extLst>
              <a:ext uri="{FF2B5EF4-FFF2-40B4-BE49-F238E27FC236}">
                <a16:creationId xmlns:a16="http://schemas.microsoft.com/office/drawing/2014/main" id="{EB923F85-9DFF-21A6-5BCC-F6CC7085FA84}"/>
              </a:ext>
            </a:extLst>
          </p:cNvPr>
          <p:cNvSpPr/>
          <p:nvPr/>
        </p:nvSpPr>
        <p:spPr>
          <a:xfrm>
            <a:off x="1045029" y="5081079"/>
            <a:ext cx="7300685" cy="8634921"/>
          </a:xfrm>
          <a:prstGeom prst="rect">
            <a:avLst/>
          </a:prstGeom>
          <a:solidFill>
            <a:srgbClr val="292B31">
              <a:alpha val="5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l"/>
            <a:endParaRPr lang="en-GB" sz="3200" dirty="0" err="1">
              <a:solidFill>
                <a:schemeClr val="tx1"/>
              </a:solidFill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75DE1CE-0ECE-9DB5-B3C7-CE28E0FD61A4}"/>
              </a:ext>
            </a:extLst>
          </p:cNvPr>
          <p:cNvSpPr/>
          <p:nvPr/>
        </p:nvSpPr>
        <p:spPr>
          <a:xfrm>
            <a:off x="22669279" y="12732991"/>
            <a:ext cx="1148664" cy="879265"/>
          </a:xfrm>
          <a:prstGeom prst="rect">
            <a:avLst/>
          </a:prstGeom>
          <a:solidFill>
            <a:srgbClr val="292B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l"/>
            <a:endParaRPr lang="en-GB" sz="3200" dirty="0" err="1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375DFC-A837-51A9-B3AD-F8F3C138F475}"/>
              </a:ext>
            </a:extLst>
          </p:cNvPr>
          <p:cNvSpPr txBox="1">
            <a:spLocks/>
          </p:cNvSpPr>
          <p:nvPr/>
        </p:nvSpPr>
        <p:spPr>
          <a:xfrm>
            <a:off x="4589187" y="1819347"/>
            <a:ext cx="15313470" cy="159274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pPr algn="ctr">
              <a:lnSpc>
                <a:spcPct val="77000"/>
              </a:lnSpc>
            </a:pPr>
            <a:r>
              <a:rPr lang="ru-RU" sz="11500" dirty="0">
                <a:gradFill flip="none" rotWithShape="1">
                  <a:gsLst>
                    <a:gs pos="100000">
                      <a:schemeClr val="bg1"/>
                    </a:gs>
                    <a:gs pos="0">
                      <a:schemeClr val="accent3"/>
                    </a:gs>
                  </a:gsLst>
                  <a:lin ang="0" scaled="1"/>
                  <a:tileRect/>
                </a:gradFill>
                <a:latin typeface="+mj-lt"/>
                <a:ea typeface="Yango Text" panose="020B0504020202020204" pitchFamily="34" charset="-79"/>
                <a:cs typeface="Yango Text" panose="020B0504020202020204" pitchFamily="34" charset="-79"/>
              </a:rPr>
              <a:t>как работать с теми, кого мы избаловали</a:t>
            </a:r>
            <a:endParaRPr lang="ru-RU" sz="6600" dirty="0">
              <a:gradFill flip="none" rotWithShape="1">
                <a:gsLst>
                  <a:gs pos="100000">
                    <a:schemeClr val="bg1"/>
                  </a:gs>
                  <a:gs pos="0">
                    <a:schemeClr val="accent3"/>
                  </a:gs>
                </a:gsLst>
                <a:lin ang="0" scaled="1"/>
                <a:tileRect/>
              </a:gradFill>
              <a:latin typeface="+mj-lt"/>
              <a:ea typeface="Yango Text" panose="020B0504020202020204" pitchFamily="34" charset="-79"/>
              <a:cs typeface="Yango Text" panose="020B0504020202020204" pitchFamily="34" charset="-79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0F8695A-EDBF-904D-2797-80291D4C59DF}"/>
              </a:ext>
            </a:extLst>
          </p:cNvPr>
          <p:cNvSpPr txBox="1">
            <a:spLocks/>
          </p:cNvSpPr>
          <p:nvPr/>
        </p:nvSpPr>
        <p:spPr>
          <a:xfrm>
            <a:off x="4589187" y="615043"/>
            <a:ext cx="15313470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pPr algn="ctr">
              <a:lnSpc>
                <a:spcPct val="90000"/>
              </a:lnSpc>
            </a:pPr>
            <a:r>
              <a:rPr lang="ru-RU" sz="4000" dirty="0">
                <a:gradFill flip="none" rotWithShape="1">
                  <a:gsLst>
                    <a:gs pos="100000">
                      <a:schemeClr val="bg1"/>
                    </a:gs>
                    <a:gs pos="0">
                      <a:schemeClr val="accent3"/>
                    </a:gs>
                  </a:gsLst>
                  <a:lin ang="0" scaled="1"/>
                  <a:tileRect/>
                </a:gradFill>
                <a:latin typeface="+mj-lt"/>
                <a:ea typeface="Yango Text" panose="020B0504020202020204" pitchFamily="34" charset="-79"/>
                <a:cs typeface="Yango Text" panose="020B0504020202020204" pitchFamily="34" charset="-79"/>
              </a:rPr>
              <a:t>теперь ваша очередь</a:t>
            </a:r>
          </a:p>
        </p:txBody>
      </p:sp>
      <p:pic>
        <p:nvPicPr>
          <p:cNvPr id="58" name="Рисунок 51" descr="Изображение выглядит как снимок экрана, Прямоугольник, свет, искусство&#10;&#10;Содержимое, созданное искусственным интеллектом, может быть неверным.">
            <a:extLst>
              <a:ext uri="{FF2B5EF4-FFF2-40B4-BE49-F238E27FC236}">
                <a16:creationId xmlns:a16="http://schemas.microsoft.com/office/drawing/2014/main" id="{992E7EB0-6A20-8D11-461A-0DED179A963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73" t="63380" r="12859"/>
          <a:stretch/>
        </p:blipFill>
        <p:spPr>
          <a:xfrm flipV="1">
            <a:off x="0" y="6396261"/>
            <a:ext cx="24382412" cy="7319737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84EE25A4-312E-5CBB-5C7F-0F5415FB7061}"/>
              </a:ext>
            </a:extLst>
          </p:cNvPr>
          <p:cNvGrpSpPr/>
          <p:nvPr/>
        </p:nvGrpSpPr>
        <p:grpSpPr>
          <a:xfrm>
            <a:off x="16367386" y="5649692"/>
            <a:ext cx="5925094" cy="8066309"/>
            <a:chOff x="16599060" y="5649692"/>
            <a:chExt cx="5925094" cy="8066309"/>
          </a:xfrm>
        </p:grpSpPr>
        <p:cxnSp>
          <p:nvCxnSpPr>
            <p:cNvPr id="13" name="Прямая соединительная линия 41">
              <a:extLst>
                <a:ext uri="{FF2B5EF4-FFF2-40B4-BE49-F238E27FC236}">
                  <a16:creationId xmlns:a16="http://schemas.microsoft.com/office/drawing/2014/main" id="{B2DFCA92-60F2-589D-3838-B9C96488880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6599060" y="5649693"/>
              <a:ext cx="0" cy="8066308"/>
            </a:xfrm>
            <a:prstGeom prst="line">
              <a:avLst/>
            </a:prstGeom>
            <a:ln w="31750" cap="sq" cmpd="sng">
              <a:gradFill flip="none" rotWithShape="1">
                <a:gsLst>
                  <a:gs pos="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5400000" scaled="1"/>
                <a:tileRect/>
              </a:gradFill>
              <a:prstDash val="solid"/>
              <a:bevel/>
              <a:headEnd type="none" w="med" len="med"/>
              <a:tailEnd type="none" w="med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D8E66233-2835-F1D6-390D-ACA59B962968}"/>
                </a:ext>
              </a:extLst>
            </p:cNvPr>
            <p:cNvGrpSpPr/>
            <p:nvPr/>
          </p:nvGrpSpPr>
          <p:grpSpPr>
            <a:xfrm>
              <a:off x="17188995" y="5649692"/>
              <a:ext cx="5335159" cy="5710958"/>
              <a:chOff x="17471697" y="5649692"/>
              <a:chExt cx="5335159" cy="5710958"/>
            </a:xfrm>
          </p:grpSpPr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B7E4E517-BD73-91A6-D120-050B2E7AA7D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7471698" y="10031055"/>
                <a:ext cx="5335158" cy="132959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800"/>
                  </a:spcAft>
                </a:pPr>
                <a:r>
                  <a:rPr lang="ru-RU" sz="3200" dirty="0">
                    <a:solidFill>
                      <a:schemeClr val="bg1">
                        <a:lumMod val="85000"/>
                      </a:schemeClr>
                    </a:solidFill>
                  </a:rPr>
                  <a:t>чтобы пользователь получал уровень сервиса, </a:t>
                </a:r>
                <a:br>
                  <a:rPr lang="ru-RU" sz="3200" dirty="0">
                    <a:solidFill>
                      <a:schemeClr val="bg1">
                        <a:lumMod val="85000"/>
                      </a:schemeClr>
                    </a:solidFill>
                  </a:rPr>
                </a:br>
                <a:r>
                  <a:rPr lang="ru-RU" sz="3200" dirty="0">
                    <a:solidFill>
                      <a:schemeClr val="bg1">
                        <a:lumMod val="85000"/>
                      </a:schemeClr>
                    </a:solidFill>
                  </a:rPr>
                  <a:t>за который готов переплачивать</a:t>
                </a: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37FDDA08-B960-90D6-64DC-75DD9D68C5D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7471698" y="6670436"/>
                <a:ext cx="5335158" cy="1088888"/>
              </a:xfrm>
              <a:prstGeom prst="rect">
                <a:avLst/>
              </a:prstGeom>
              <a:noFill/>
              <a:ln/>
            </p:spPr>
            <p:txBody>
              <a:bodyPr wrap="square" lIns="0" tIns="0" rIns="0" bIns="0" rtlCol="0" anchor="t">
                <a:noAutofit/>
              </a:bodyPr>
              <a:lstStyle>
                <a:defPPr>
                  <a:defRPr lang="ru-RU"/>
                </a:defPPr>
                <a:lvl1pPr defTabSz="914217">
                  <a:lnSpc>
                    <a:spcPct val="80000"/>
                  </a:lnSpc>
                  <a:defRPr sz="4000" kern="0" spc="43">
                    <a:solidFill>
                      <a:schemeClr val="bg1"/>
                    </a:solidFill>
                    <a:latin typeface="YS Geo Medium" pitchFamily="34" charset="0"/>
                    <a:cs typeface="YS Geo Medium" pitchFamily="34" charset="-120"/>
                  </a:defRPr>
                </a:lvl1pPr>
              </a:lstStyle>
              <a:p>
                <a:r>
                  <a:rPr lang="ru-RU" sz="4400" dirty="0"/>
                  <a:t>создавайте </a:t>
                </a:r>
                <a:br>
                  <a:rPr lang="ru-RU" sz="4400" dirty="0"/>
                </a:br>
                <a:r>
                  <a:rPr lang="ru-RU" sz="4400" dirty="0"/>
                  <a:t>комфорт</a:t>
                </a:r>
              </a:p>
            </p:txBody>
          </p:sp>
          <p:sp>
            <p:nvSpPr>
              <p:cNvPr id="34" name="Oval 7">
                <a:extLst>
                  <a:ext uri="{FF2B5EF4-FFF2-40B4-BE49-F238E27FC236}">
                    <a16:creationId xmlns:a16="http://schemas.microsoft.com/office/drawing/2014/main" id="{31A65F96-412F-E14E-C8CA-C1F4B72B4C4D}"/>
                  </a:ext>
                </a:extLst>
              </p:cNvPr>
              <p:cNvSpPr/>
              <p:nvPr/>
            </p:nvSpPr>
            <p:spPr>
              <a:xfrm>
                <a:off x="17471697" y="5649692"/>
                <a:ext cx="697620" cy="697620"/>
              </a:xfrm>
              <a:prstGeom prst="ellips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ru-RU" sz="3200" dirty="0">
                    <a:solidFill>
                      <a:schemeClr val="bg1"/>
                    </a:solidFill>
                    <a:latin typeface="+mj-lt"/>
                  </a:rPr>
                  <a:t>3</a:t>
                </a:r>
                <a:endParaRPr lang="en-GB" sz="32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pic>
        <p:nvPicPr>
          <p:cNvPr id="47" name="Picture 46">
            <a:extLst>
              <a:ext uri="{FF2B5EF4-FFF2-40B4-BE49-F238E27FC236}">
                <a16:creationId xmlns:a16="http://schemas.microsoft.com/office/drawing/2014/main" id="{135B684E-9DF5-27ED-40CF-05D8F00B9612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>
          <a:xfrm>
            <a:off x="19152711" y="3832709"/>
            <a:ext cx="5207245" cy="10626242"/>
          </a:xfrm>
          <a:custGeom>
            <a:avLst/>
            <a:gdLst>
              <a:gd name="connsiteX0" fmla="*/ 0 w 4788146"/>
              <a:gd name="connsiteY0" fmla="*/ 0 h 9771001"/>
              <a:gd name="connsiteX1" fmla="*/ 4788146 w 4788146"/>
              <a:gd name="connsiteY1" fmla="*/ 0 h 9771001"/>
              <a:gd name="connsiteX2" fmla="*/ 4788146 w 4788146"/>
              <a:gd name="connsiteY2" fmla="*/ 6426238 h 9771001"/>
              <a:gd name="connsiteX3" fmla="*/ 2959228 w 4788146"/>
              <a:gd name="connsiteY3" fmla="*/ 6426238 h 9771001"/>
              <a:gd name="connsiteX4" fmla="*/ 2959228 w 4788146"/>
              <a:gd name="connsiteY4" fmla="*/ 4885500 h 9771001"/>
              <a:gd name="connsiteX5" fmla="*/ 886758 w 4788146"/>
              <a:gd name="connsiteY5" fmla="*/ 4885500 h 9771001"/>
              <a:gd name="connsiteX6" fmla="*/ 886758 w 4788146"/>
              <a:gd name="connsiteY6" fmla="*/ 9155330 h 9771001"/>
              <a:gd name="connsiteX7" fmla="*/ 2959228 w 4788146"/>
              <a:gd name="connsiteY7" fmla="*/ 9155330 h 9771001"/>
              <a:gd name="connsiteX8" fmla="*/ 2959228 w 4788146"/>
              <a:gd name="connsiteY8" fmla="*/ 9155329 h 9771001"/>
              <a:gd name="connsiteX9" fmla="*/ 4788146 w 4788146"/>
              <a:gd name="connsiteY9" fmla="*/ 9155329 h 9771001"/>
              <a:gd name="connsiteX10" fmla="*/ 4788146 w 4788146"/>
              <a:gd name="connsiteY10" fmla="*/ 9771001 h 9771001"/>
              <a:gd name="connsiteX11" fmla="*/ 0 w 4788146"/>
              <a:gd name="connsiteY11" fmla="*/ 9771001 h 9771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788146" h="9771001">
                <a:moveTo>
                  <a:pt x="0" y="0"/>
                </a:moveTo>
                <a:lnTo>
                  <a:pt x="4788146" y="0"/>
                </a:lnTo>
                <a:lnTo>
                  <a:pt x="4788146" y="6426238"/>
                </a:lnTo>
                <a:lnTo>
                  <a:pt x="2959228" y="6426238"/>
                </a:lnTo>
                <a:lnTo>
                  <a:pt x="2959228" y="4885500"/>
                </a:lnTo>
                <a:lnTo>
                  <a:pt x="886758" y="4885500"/>
                </a:lnTo>
                <a:lnTo>
                  <a:pt x="886758" y="9155330"/>
                </a:lnTo>
                <a:lnTo>
                  <a:pt x="2959228" y="9155330"/>
                </a:lnTo>
                <a:lnTo>
                  <a:pt x="2959228" y="9155329"/>
                </a:lnTo>
                <a:lnTo>
                  <a:pt x="4788146" y="9155329"/>
                </a:lnTo>
                <a:lnTo>
                  <a:pt x="4788146" y="9771001"/>
                </a:lnTo>
                <a:lnTo>
                  <a:pt x="0" y="977100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1295935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D6DC9F-7D32-47A7-9A7E-A0840A2AB3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DDCC80F-2A35-FB90-3E6A-47FBCA97FB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662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EDAB40-79FE-C102-98DA-5114ED39E1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7" descr="A blue and black background&#10;&#10;AI-generated content may be incorrect.">
            <a:extLst>
              <a:ext uri="{FF2B5EF4-FFF2-40B4-BE49-F238E27FC236}">
                <a16:creationId xmlns:a16="http://schemas.microsoft.com/office/drawing/2014/main" id="{9E94F571-DF24-DF3C-FDAC-DCDC4992A916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80" t="-6913" r="1493" b="9985"/>
          <a:stretch>
            <a:fillRect/>
          </a:stretch>
        </p:blipFill>
        <p:spPr>
          <a:xfrm>
            <a:off x="0" y="0"/>
            <a:ext cx="24385311" cy="13716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1950DCB-6DE9-E7CD-866F-96F4754874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9762" y="4803912"/>
            <a:ext cx="18022888" cy="4108176"/>
          </a:xfrm>
        </p:spPr>
        <p:txBody>
          <a:bodyPr vert="horz"/>
          <a:lstStyle/>
          <a:p>
            <a:pPr algn="ctr"/>
            <a:r>
              <a:rPr lang="ru-RU" sz="16600" dirty="0">
                <a:solidFill>
                  <a:schemeClr val="accent1"/>
                </a:solidFill>
              </a:rPr>
              <a:t>кто </a:t>
            </a:r>
            <a:r>
              <a:rPr lang="ru-RU" sz="16600" dirty="0">
                <a:gradFill>
                  <a:gsLst>
                    <a:gs pos="0">
                      <a:schemeClr val="accent2"/>
                    </a:gs>
                    <a:gs pos="99000">
                      <a:schemeClr val="accent3"/>
                    </a:gs>
                  </a:gsLst>
                  <a:lin ang="10800000" scaled="1"/>
                </a:gradFill>
              </a:rPr>
              <a:t>нас ждёт через 5 лет</a:t>
            </a:r>
            <a:endParaRPr lang="en-GB" sz="166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740906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3EDAB40-79FE-C102-98DA-5114ED39E1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21465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0" imgH="409" progId="TCLayout.ActiveDocument.1">
                  <p:embed/>
                </p:oleObj>
              </mc:Choice>
              <mc:Fallback>
                <p:oleObj name="think-cell Slide" r:id="rId6" imgW="410" imgH="40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EDAB40-79FE-C102-98DA-5114ED39E1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9D089BE6-CD56-72DE-C7CF-969C9D6B6B85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2" b="1172"/>
          <a:stretch/>
        </p:blipFill>
        <p:spPr>
          <a:xfrm>
            <a:off x="0" y="0"/>
            <a:ext cx="24384000" cy="13716000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8CC38D84-D1A8-3057-ECD3-40C0A915B4DC}"/>
              </a:ext>
            </a:extLst>
          </p:cNvPr>
          <p:cNvSpPr txBox="1">
            <a:spLocks/>
          </p:cNvSpPr>
          <p:nvPr/>
        </p:nvSpPr>
        <p:spPr>
          <a:xfrm>
            <a:off x="892606" y="2330744"/>
            <a:ext cx="22597200" cy="4466094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algn="l" defTabSz="1828619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8000" b="0" i="0" kern="1200">
                <a:solidFill>
                  <a:schemeClr val="bg1"/>
                </a:solidFill>
                <a:latin typeface="+mj-lt"/>
                <a:ea typeface="+mj-ea"/>
                <a:cs typeface="YS Display Cond" pitchFamily="2" charset="0"/>
              </a:defRPr>
            </a:lvl1pPr>
          </a:lstStyle>
          <a:p>
            <a:r>
              <a:rPr lang="ru-RU" sz="8800" dirty="0">
                <a:gradFill flip="none" rotWithShape="1">
                  <a:gsLst>
                    <a:gs pos="0">
                      <a:schemeClr val="bg1"/>
                    </a:gs>
                    <a:gs pos="100000">
                      <a:srgbClr val="78CADF">
                        <a:alpha val="53000"/>
                      </a:srgbClr>
                    </a:gs>
                  </a:gsLst>
                  <a:lin ang="10800000" scaled="1"/>
                  <a:tileRect/>
                </a:gradFill>
              </a:rPr>
              <a:t>осознанный юзер</a:t>
            </a:r>
            <a:br>
              <a:rPr lang="ru-RU" sz="8800" dirty="0">
                <a:gradFill flip="none" rotWithShape="1">
                  <a:gsLst>
                    <a:gs pos="0">
                      <a:schemeClr val="bg1"/>
                    </a:gs>
                    <a:gs pos="100000">
                      <a:srgbClr val="78CADF">
                        <a:alpha val="53000"/>
                      </a:srgbClr>
                    </a:gs>
                  </a:gsLst>
                  <a:lin ang="10800000" scaled="1"/>
                  <a:tileRect/>
                </a:gradFill>
              </a:rPr>
            </a:br>
            <a:r>
              <a:rPr lang="ru-RU" sz="8800" dirty="0">
                <a:gradFill flip="none" rotWithShape="1">
                  <a:gsLst>
                    <a:gs pos="0">
                      <a:schemeClr val="bg1"/>
                    </a:gs>
                    <a:gs pos="100000">
                      <a:srgbClr val="78CADF">
                        <a:alpha val="53000"/>
                      </a:srgbClr>
                    </a:gs>
                  </a:gsLst>
                  <a:lin ang="10800000" scaled="1"/>
                  <a:tileRect/>
                </a:gradFill>
              </a:rPr>
              <a:t>экосистемы</a:t>
            </a:r>
            <a:r>
              <a:rPr lang="ru-RU" sz="10000" dirty="0">
                <a:gradFill flip="none" rotWithShape="1">
                  <a:gsLst>
                    <a:gs pos="0">
                      <a:schemeClr val="bg1"/>
                    </a:gs>
                    <a:gs pos="100000">
                      <a:srgbClr val="78CADF">
                        <a:alpha val="53000"/>
                      </a:srgbClr>
                    </a:gs>
                  </a:gsLst>
                  <a:lin ang="10800000" scaled="1"/>
                  <a:tileRect/>
                </a:gradFill>
              </a:rPr>
              <a:t>, </a:t>
            </a:r>
            <a:br>
              <a:rPr lang="en-US" sz="10000" dirty="0">
                <a:gradFill flip="none" rotWithShape="1">
                  <a:gsLst>
                    <a:gs pos="0">
                      <a:schemeClr val="bg1"/>
                    </a:gs>
                    <a:gs pos="100000">
                      <a:srgbClr val="78CADF">
                        <a:alpha val="53000"/>
                      </a:srgbClr>
                    </a:gs>
                  </a:gsLst>
                  <a:lin ang="10800000" scaled="1"/>
                  <a:tileRect/>
                </a:gradFill>
              </a:rPr>
            </a:br>
            <a:r>
              <a:rPr lang="ru-RU" sz="17300" dirty="0">
                <a:gradFill flip="none" rotWithShape="1">
                  <a:gsLst>
                    <a:gs pos="0">
                      <a:schemeClr val="bg1"/>
                    </a:gs>
                    <a:gs pos="100000">
                      <a:srgbClr val="78CADF">
                        <a:alpha val="53000"/>
                      </a:srgbClr>
                    </a:gs>
                  </a:gsLst>
                  <a:lin ang="10800000" scaled="1"/>
                  <a:tileRect/>
                </a:gradFill>
              </a:rPr>
              <a:t>оркестратор</a:t>
            </a:r>
            <a:endParaRPr lang="ru-RU" sz="10000" dirty="0">
              <a:gradFill flip="none" rotWithShape="1">
                <a:gsLst>
                  <a:gs pos="0">
                    <a:schemeClr val="bg1"/>
                  </a:gs>
                  <a:gs pos="100000">
                    <a:srgbClr val="78CADF">
                      <a:alpha val="53000"/>
                    </a:srgbClr>
                  </a:gs>
                </a:gsLst>
                <a:lin ang="10800000" scaled="1"/>
                <a:tileRect/>
              </a:gra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45003C17-E82E-5E46-2168-652FECB0D2F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93132" y="978194"/>
            <a:ext cx="4533808" cy="66118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FAB7643-4675-9C26-8892-4EBA1819174B}"/>
              </a:ext>
            </a:extLst>
          </p:cNvPr>
          <p:cNvSpPr txBox="1"/>
          <p:nvPr/>
        </p:nvSpPr>
        <p:spPr>
          <a:xfrm>
            <a:off x="892175" y="10072423"/>
            <a:ext cx="7298894" cy="22159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4800" dirty="0">
                <a:solidFill>
                  <a:schemeClr val="bg1"/>
                </a:solidFill>
                <a:latin typeface="+mj-lt"/>
              </a:rPr>
              <a:t>тот, кто будет требовать </a:t>
            </a:r>
            <a:br>
              <a:rPr lang="ru-RU" sz="4800" dirty="0">
                <a:solidFill>
                  <a:schemeClr val="bg1"/>
                </a:solidFill>
                <a:latin typeface="+mj-lt"/>
              </a:rPr>
            </a:br>
            <a:r>
              <a:rPr lang="ru-RU" sz="4800" dirty="0">
                <a:solidFill>
                  <a:schemeClr val="bg1"/>
                </a:solidFill>
                <a:latin typeface="+mj-lt"/>
              </a:rPr>
              <a:t>от экосистемы еще больше в своей жизни </a:t>
            </a:r>
          </a:p>
        </p:txBody>
      </p:sp>
      <p:pic>
        <p:nvPicPr>
          <p:cNvPr id="10" name="hf_20260421_140348_41631052-0b55-4268-8487-68c262d2cdf8">
            <a:hlinkClick r:id="" action="ppaction://media"/>
            <a:extLst>
              <a:ext uri="{FF2B5EF4-FFF2-40B4-BE49-F238E27FC236}">
                <a16:creationId xmlns:a16="http://schemas.microsoft.com/office/drawing/2014/main" id="{C667B578-6BDF-030D-E167-1A538F3585C7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3">
                  <p14:trim st="888"/>
                </p14:media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0" y="-1"/>
            <a:ext cx="24383998" cy="13715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94648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154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C5384307-0A54-8DBB-C5E0-2EE488DC37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5234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384307-0A54-8DBB-C5E0-2EE488DC37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8B31F160-4735-906D-0EAB-6084BF979C7A}"/>
              </a:ext>
            </a:extLst>
          </p:cNvPr>
          <p:cNvSpPr/>
          <p:nvPr/>
        </p:nvSpPr>
        <p:spPr>
          <a:xfrm>
            <a:off x="22337486" y="12496800"/>
            <a:ext cx="1524000" cy="994952"/>
          </a:xfrm>
          <a:prstGeom prst="rect">
            <a:avLst/>
          </a:prstGeom>
          <a:solidFill>
            <a:srgbClr val="292B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l"/>
            <a:endParaRPr lang="en-GB" sz="3200" dirty="0" err="1">
              <a:solidFill>
                <a:schemeClr val="tx1"/>
              </a:solidFill>
            </a:endParaRPr>
          </a:p>
        </p:txBody>
      </p: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166B9C32-462B-2CCF-90B9-5D119E61E784}"/>
              </a:ext>
            </a:extLst>
          </p:cNvPr>
          <p:cNvGrpSpPr/>
          <p:nvPr/>
        </p:nvGrpSpPr>
        <p:grpSpPr>
          <a:xfrm>
            <a:off x="-1693223" y="-389146"/>
            <a:ext cx="27768858" cy="27768858"/>
            <a:chOff x="-1693223" y="-389146"/>
            <a:chExt cx="27768858" cy="27768858"/>
          </a:xfrm>
        </p:grpSpPr>
        <p:sp>
          <p:nvSpPr>
            <p:cNvPr id="94" name="Дуга 12">
              <a:extLst>
                <a:ext uri="{FF2B5EF4-FFF2-40B4-BE49-F238E27FC236}">
                  <a16:creationId xmlns:a16="http://schemas.microsoft.com/office/drawing/2014/main" id="{2C993739-59F3-53E6-6316-62B8EA9A2866}"/>
                </a:ext>
              </a:extLst>
            </p:cNvPr>
            <p:cNvSpPr/>
            <p:nvPr/>
          </p:nvSpPr>
          <p:spPr>
            <a:xfrm>
              <a:off x="4279106" y="5583183"/>
              <a:ext cx="15824200" cy="15824200"/>
            </a:xfrm>
            <a:prstGeom prst="arc">
              <a:avLst>
                <a:gd name="adj1" fmla="val 10759077"/>
                <a:gd name="adj2" fmla="val 63181"/>
              </a:avLst>
            </a:prstGeom>
            <a:noFill/>
            <a:ln>
              <a:solidFill>
                <a:schemeClr val="accent1">
                  <a:alpha val="51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l"/>
              <a:endParaRPr lang="ru-RU" sz="3200" dirty="0" err="1">
                <a:solidFill>
                  <a:schemeClr val="tx1"/>
                </a:solidFill>
              </a:endParaRPr>
            </a:p>
          </p:txBody>
        </p:sp>
        <p:sp>
          <p:nvSpPr>
            <p:cNvPr id="95" name="Дуга 13">
              <a:extLst>
                <a:ext uri="{FF2B5EF4-FFF2-40B4-BE49-F238E27FC236}">
                  <a16:creationId xmlns:a16="http://schemas.microsoft.com/office/drawing/2014/main" id="{3E2A84AA-575A-EBBE-FEAF-7F9864D5CE12}"/>
                </a:ext>
              </a:extLst>
            </p:cNvPr>
            <p:cNvSpPr/>
            <p:nvPr/>
          </p:nvSpPr>
          <p:spPr>
            <a:xfrm>
              <a:off x="1193129" y="2497206"/>
              <a:ext cx="21996154" cy="21996154"/>
            </a:xfrm>
            <a:prstGeom prst="arc">
              <a:avLst>
                <a:gd name="adj1" fmla="val 10779374"/>
                <a:gd name="adj2" fmla="val 47225"/>
              </a:avLst>
            </a:prstGeom>
            <a:noFill/>
            <a:ln>
              <a:solidFill>
                <a:schemeClr val="accent1">
                  <a:alpha val="51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l"/>
              <a:endParaRPr lang="ru-RU" sz="3200" dirty="0" err="1">
                <a:solidFill>
                  <a:schemeClr val="tx1"/>
                </a:solidFill>
              </a:endParaRPr>
            </a:p>
          </p:txBody>
        </p:sp>
        <p:sp>
          <p:nvSpPr>
            <p:cNvPr id="96" name="Дуга 14">
              <a:extLst>
                <a:ext uri="{FF2B5EF4-FFF2-40B4-BE49-F238E27FC236}">
                  <a16:creationId xmlns:a16="http://schemas.microsoft.com/office/drawing/2014/main" id="{068D0FEB-8EEF-F120-86FA-049C5B369DEB}"/>
                </a:ext>
              </a:extLst>
            </p:cNvPr>
            <p:cNvSpPr/>
            <p:nvPr/>
          </p:nvSpPr>
          <p:spPr>
            <a:xfrm>
              <a:off x="-1693223" y="-389146"/>
              <a:ext cx="27768858" cy="27768858"/>
            </a:xfrm>
            <a:prstGeom prst="arc">
              <a:avLst>
                <a:gd name="adj1" fmla="val 11721628"/>
                <a:gd name="adj2" fmla="val 20829598"/>
              </a:avLst>
            </a:prstGeom>
            <a:noFill/>
            <a:ln>
              <a:solidFill>
                <a:schemeClr val="accent1">
                  <a:alpha val="51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l"/>
              <a:endParaRPr lang="ru-RU" sz="32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55" name="Прямоугольник 50">
            <a:extLst>
              <a:ext uri="{FF2B5EF4-FFF2-40B4-BE49-F238E27FC236}">
                <a16:creationId xmlns:a16="http://schemas.microsoft.com/office/drawing/2014/main" id="{5166A1C0-0813-DF74-32E7-FD103FE86C94}"/>
              </a:ext>
            </a:extLst>
          </p:cNvPr>
          <p:cNvSpPr/>
          <p:nvPr/>
        </p:nvSpPr>
        <p:spPr>
          <a:xfrm>
            <a:off x="0" y="442686"/>
            <a:ext cx="24382413" cy="13715999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74000"/>
                </a:schemeClr>
              </a:gs>
              <a:gs pos="52000">
                <a:schemeClr val="tx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l"/>
            <a:endParaRPr lang="ru-RU" sz="3200" dirty="0" err="1">
              <a:solidFill>
                <a:schemeClr val="tx1"/>
              </a:solidFill>
            </a:endParaRP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2C2A0897-7CD2-D4B4-8AE7-18ADBDFB036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b="50000"/>
          <a:stretch/>
        </p:blipFill>
        <p:spPr>
          <a:xfrm>
            <a:off x="-437017" y="5887459"/>
            <a:ext cx="25256446" cy="7848382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80988B46-EC36-A04D-6844-8CC6F4F4E662}"/>
              </a:ext>
            </a:extLst>
          </p:cNvPr>
          <p:cNvSpPr/>
          <p:nvPr/>
        </p:nvSpPr>
        <p:spPr>
          <a:xfrm>
            <a:off x="6096000" y="5762171"/>
            <a:ext cx="6836229" cy="1538515"/>
          </a:xfrm>
          <a:prstGeom prst="rect">
            <a:avLst/>
          </a:prstGeom>
          <a:solidFill>
            <a:schemeClr val="tx2">
              <a:alpha val="82000"/>
            </a:schemeClr>
          </a:solidFill>
          <a:ln>
            <a:noFill/>
          </a:ln>
          <a:effectLst>
            <a:softEdge rad="3048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l"/>
            <a:endParaRPr lang="en-GB" sz="3200" dirty="0" err="1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4ABB2C2-C46C-3990-8432-36C8C9E26754}"/>
              </a:ext>
            </a:extLst>
          </p:cNvPr>
          <p:cNvSpPr txBox="1"/>
          <p:nvPr/>
        </p:nvSpPr>
        <p:spPr>
          <a:xfrm>
            <a:off x="3602813" y="1798344"/>
            <a:ext cx="17813968" cy="2177840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>
            <a:defPPr>
              <a:defRPr lang="ru-RU"/>
            </a:defPPr>
            <a:lvl1pPr defTabSz="914217">
              <a:lnSpc>
                <a:spcPct val="80000"/>
              </a:lnSpc>
              <a:defRPr sz="4000" kern="0" spc="43">
                <a:solidFill>
                  <a:schemeClr val="bg1"/>
                </a:solidFill>
                <a:latin typeface="YS Geo Medium" pitchFamily="34" charset="0"/>
                <a:cs typeface="YS Geo Medium" pitchFamily="34" charset="-120"/>
              </a:defRPr>
            </a:lvl1pPr>
          </a:lstStyle>
          <a:p>
            <a:pPr algn="ctr"/>
            <a:r>
              <a:rPr lang="ru-RU" sz="8800" dirty="0"/>
              <a:t>как время изменило ландшафт повседневной жизни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F79B7EAA-E579-9C53-1C3E-BFC2649C102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92175" y="584708"/>
            <a:ext cx="3089275" cy="450519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B68E84B5-EF6A-7E79-D262-ADF0C9EFCF84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r="71382"/>
          <a:stretch/>
        </p:blipFill>
        <p:spPr>
          <a:xfrm>
            <a:off x="8910436" y="514084"/>
            <a:ext cx="2321796" cy="751384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EEB119CC-30E4-7B5A-273D-7756891B570D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44552" r="6484"/>
          <a:stretch/>
        </p:blipFill>
        <p:spPr>
          <a:xfrm>
            <a:off x="11019929" y="514084"/>
            <a:ext cx="3972421" cy="751384"/>
          </a:xfrm>
          <a:prstGeom prst="rect">
            <a:avLst/>
          </a:prstGeom>
        </p:spPr>
      </p:pic>
      <p:grpSp>
        <p:nvGrpSpPr>
          <p:cNvPr id="63" name="Group 62">
            <a:extLst>
              <a:ext uri="{FF2B5EF4-FFF2-40B4-BE49-F238E27FC236}">
                <a16:creationId xmlns:a16="http://schemas.microsoft.com/office/drawing/2014/main" id="{3600A995-FB35-5AD2-F100-38826E63DEEF}"/>
              </a:ext>
            </a:extLst>
          </p:cNvPr>
          <p:cNvGrpSpPr/>
          <p:nvPr/>
        </p:nvGrpSpPr>
        <p:grpSpPr>
          <a:xfrm>
            <a:off x="25543419" y="3215516"/>
            <a:ext cx="5534315" cy="1240909"/>
            <a:chOff x="13784201" y="3362053"/>
            <a:chExt cx="5534315" cy="1240909"/>
          </a:xfrm>
        </p:grpSpPr>
        <p:sp>
          <p:nvSpPr>
            <p:cNvPr id="64" name="Скругленный прямоугольник 10">
              <a:extLst>
                <a:ext uri="{FF2B5EF4-FFF2-40B4-BE49-F238E27FC236}">
                  <a16:creationId xmlns:a16="http://schemas.microsoft.com/office/drawing/2014/main" id="{4AFBC9F5-F9C6-4C97-7D73-A0E6E029C193}"/>
                </a:ext>
              </a:extLst>
            </p:cNvPr>
            <p:cNvSpPr/>
            <p:nvPr/>
          </p:nvSpPr>
          <p:spPr>
            <a:xfrm>
              <a:off x="13861910" y="3362053"/>
              <a:ext cx="5456606" cy="1240909"/>
            </a:xfrm>
            <a:prstGeom prst="roundRect">
              <a:avLst>
                <a:gd name="adj" fmla="val 30995"/>
              </a:avLst>
            </a:prstGeom>
            <a:solidFill>
              <a:schemeClr val="tx2">
                <a:alpha val="74777"/>
              </a:schemeClr>
            </a:solidFill>
            <a:ln>
              <a:gradFill flip="none" rotWithShape="1">
                <a:gsLst>
                  <a:gs pos="0">
                    <a:schemeClr val="bg2">
                      <a:alpha val="50000"/>
                    </a:schemeClr>
                  </a:gs>
                  <a:gs pos="100000">
                    <a:schemeClr val="bg1">
                      <a:alpha val="10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rIns="216000" rtlCol="0" anchor="ctr"/>
            <a:lstStyle/>
            <a:p>
              <a:pPr>
                <a:lnSpc>
                  <a:spcPct val="90000"/>
                </a:lnSpc>
              </a:pPr>
              <a:r>
                <a:rPr lang="ru-RU" sz="2400" dirty="0">
                  <a:sym typeface="Georgia"/>
                </a:rPr>
                <a:t>когда вы последний раз просили друга забрать из аэропорта?</a:t>
              </a:r>
            </a:p>
          </p:txBody>
        </p:sp>
        <p:sp>
          <p:nvSpPr>
            <p:cNvPr id="65" name="Овал 20">
              <a:extLst>
                <a:ext uri="{FF2B5EF4-FFF2-40B4-BE49-F238E27FC236}">
                  <a16:creationId xmlns:a16="http://schemas.microsoft.com/office/drawing/2014/main" id="{C4C2EEC5-1C64-3A83-3239-8853E889F979}"/>
                </a:ext>
              </a:extLst>
            </p:cNvPr>
            <p:cNvSpPr/>
            <p:nvPr/>
          </p:nvSpPr>
          <p:spPr>
            <a:xfrm>
              <a:off x="13784201" y="3874931"/>
              <a:ext cx="215153" cy="21515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l"/>
              <a:endParaRPr lang="ru-RU" sz="320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7315A5C0-4F0A-9714-3B07-91578F9C90D8}"/>
              </a:ext>
            </a:extLst>
          </p:cNvPr>
          <p:cNvGrpSpPr/>
          <p:nvPr/>
        </p:nvGrpSpPr>
        <p:grpSpPr>
          <a:xfrm>
            <a:off x="-6361390" y="7331544"/>
            <a:ext cx="4436030" cy="1240909"/>
            <a:chOff x="2888706" y="8176789"/>
            <a:chExt cx="4436030" cy="1240909"/>
          </a:xfrm>
        </p:grpSpPr>
        <p:sp>
          <p:nvSpPr>
            <p:cNvPr id="67" name="Скругленный прямоугольник 10">
              <a:extLst>
                <a:ext uri="{FF2B5EF4-FFF2-40B4-BE49-F238E27FC236}">
                  <a16:creationId xmlns:a16="http://schemas.microsoft.com/office/drawing/2014/main" id="{0FCF254A-3D74-EDB8-8008-41F2CE093BD9}"/>
                </a:ext>
              </a:extLst>
            </p:cNvPr>
            <p:cNvSpPr/>
            <p:nvPr/>
          </p:nvSpPr>
          <p:spPr>
            <a:xfrm>
              <a:off x="2888706" y="8176789"/>
              <a:ext cx="4283306" cy="1240909"/>
            </a:xfrm>
            <a:prstGeom prst="roundRect">
              <a:avLst>
                <a:gd name="adj" fmla="val 30995"/>
              </a:avLst>
            </a:prstGeom>
            <a:solidFill>
              <a:schemeClr val="tx2">
                <a:alpha val="74777"/>
              </a:schemeClr>
            </a:solidFill>
            <a:ln>
              <a:gradFill flip="none" rotWithShape="1">
                <a:gsLst>
                  <a:gs pos="0">
                    <a:schemeClr val="bg2">
                      <a:alpha val="50000"/>
                    </a:schemeClr>
                  </a:gs>
                  <a:gs pos="100000">
                    <a:schemeClr val="bg1">
                      <a:alpha val="10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rIns="216000" rtlCol="0" anchor="ctr"/>
            <a:lstStyle/>
            <a:p>
              <a:pPr algn="r">
                <a:lnSpc>
                  <a:spcPct val="90000"/>
                </a:lnSpc>
              </a:pPr>
              <a:r>
                <a:rPr lang="ru-RU" sz="2400" dirty="0">
                  <a:sym typeface="Georgia"/>
                </a:rPr>
                <a:t>когда стояли в очереди </a:t>
              </a:r>
              <a:br>
                <a:rPr lang="ru-RU" sz="2400" dirty="0">
                  <a:sym typeface="Georgia"/>
                </a:rPr>
              </a:br>
              <a:r>
                <a:rPr lang="ru-RU" sz="2400" dirty="0">
                  <a:sym typeface="Georgia"/>
                </a:rPr>
                <a:t>в продуктовом магазине?</a:t>
              </a:r>
            </a:p>
          </p:txBody>
        </p:sp>
        <p:sp>
          <p:nvSpPr>
            <p:cNvPr id="68" name="Овал 20">
              <a:extLst>
                <a:ext uri="{FF2B5EF4-FFF2-40B4-BE49-F238E27FC236}">
                  <a16:creationId xmlns:a16="http://schemas.microsoft.com/office/drawing/2014/main" id="{659C4501-1CC4-6626-B21A-11195CE53F41}"/>
                </a:ext>
              </a:extLst>
            </p:cNvPr>
            <p:cNvSpPr/>
            <p:nvPr/>
          </p:nvSpPr>
          <p:spPr>
            <a:xfrm>
              <a:off x="7109583" y="8689667"/>
              <a:ext cx="215153" cy="21515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r"/>
              <a:endParaRPr lang="ru-RU" sz="320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84C87B02-9351-892A-E575-5ABF4A18FA67}"/>
              </a:ext>
            </a:extLst>
          </p:cNvPr>
          <p:cNvGrpSpPr/>
          <p:nvPr/>
        </p:nvGrpSpPr>
        <p:grpSpPr>
          <a:xfrm>
            <a:off x="26064427" y="7054979"/>
            <a:ext cx="5534315" cy="1240909"/>
            <a:chOff x="14626029" y="8536201"/>
            <a:chExt cx="5534315" cy="1240909"/>
          </a:xfrm>
        </p:grpSpPr>
        <p:sp>
          <p:nvSpPr>
            <p:cNvPr id="70" name="Скругленный прямоугольник 10">
              <a:extLst>
                <a:ext uri="{FF2B5EF4-FFF2-40B4-BE49-F238E27FC236}">
                  <a16:creationId xmlns:a16="http://schemas.microsoft.com/office/drawing/2014/main" id="{88206CA2-22F7-9EA7-0D10-002516E5B1B9}"/>
                </a:ext>
              </a:extLst>
            </p:cNvPr>
            <p:cNvSpPr/>
            <p:nvPr/>
          </p:nvSpPr>
          <p:spPr>
            <a:xfrm>
              <a:off x="14703738" y="8536201"/>
              <a:ext cx="5456606" cy="1240909"/>
            </a:xfrm>
            <a:prstGeom prst="roundRect">
              <a:avLst>
                <a:gd name="adj" fmla="val 30995"/>
              </a:avLst>
            </a:prstGeom>
            <a:solidFill>
              <a:schemeClr val="tx2">
                <a:alpha val="74777"/>
              </a:schemeClr>
            </a:solidFill>
            <a:ln>
              <a:gradFill flip="none" rotWithShape="1">
                <a:gsLst>
                  <a:gs pos="0">
                    <a:schemeClr val="bg2">
                      <a:alpha val="50000"/>
                    </a:schemeClr>
                  </a:gs>
                  <a:gs pos="100000">
                    <a:schemeClr val="bg1">
                      <a:alpha val="10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rIns="216000" rtlCol="0" anchor="ctr"/>
            <a:lstStyle/>
            <a:p>
              <a:pPr>
                <a:lnSpc>
                  <a:spcPct val="90000"/>
                </a:lnSpc>
              </a:pPr>
              <a:r>
                <a:rPr lang="ru-RU" sz="2400" dirty="0">
                  <a:sym typeface="Georgia"/>
                </a:rPr>
                <a:t>когда ждали автобус,</a:t>
              </a:r>
              <a:br>
                <a:rPr lang="ru-RU" sz="2400" dirty="0">
                  <a:sym typeface="Georgia"/>
                </a:rPr>
              </a:br>
              <a:r>
                <a:rPr lang="ru-RU" sz="2400" dirty="0">
                  <a:sym typeface="Georgia"/>
                </a:rPr>
                <a:t>не зная, когда он приедет?</a:t>
              </a:r>
            </a:p>
          </p:txBody>
        </p:sp>
        <p:sp>
          <p:nvSpPr>
            <p:cNvPr id="71" name="Овал 20">
              <a:extLst>
                <a:ext uri="{FF2B5EF4-FFF2-40B4-BE49-F238E27FC236}">
                  <a16:creationId xmlns:a16="http://schemas.microsoft.com/office/drawing/2014/main" id="{6B7B0930-833B-35B2-53CD-95274FC774FA}"/>
                </a:ext>
              </a:extLst>
            </p:cNvPr>
            <p:cNvSpPr/>
            <p:nvPr/>
          </p:nvSpPr>
          <p:spPr>
            <a:xfrm>
              <a:off x="14626029" y="9049079"/>
              <a:ext cx="215153" cy="21515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l"/>
              <a:endParaRPr lang="ru-RU" sz="320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F3757BA2-98C0-D39F-9B84-0286AD8B4559}"/>
              </a:ext>
            </a:extLst>
          </p:cNvPr>
          <p:cNvGrpSpPr/>
          <p:nvPr/>
        </p:nvGrpSpPr>
        <p:grpSpPr>
          <a:xfrm>
            <a:off x="12225019" y="14743119"/>
            <a:ext cx="5190572" cy="1240909"/>
            <a:chOff x="2417423" y="6861217"/>
            <a:chExt cx="5190572" cy="1240909"/>
          </a:xfrm>
        </p:grpSpPr>
        <p:sp>
          <p:nvSpPr>
            <p:cNvPr id="76" name="Скругленный прямоугольник 10">
              <a:extLst>
                <a:ext uri="{FF2B5EF4-FFF2-40B4-BE49-F238E27FC236}">
                  <a16:creationId xmlns:a16="http://schemas.microsoft.com/office/drawing/2014/main" id="{8873B467-4565-2241-B381-F9AEE276906E}"/>
                </a:ext>
              </a:extLst>
            </p:cNvPr>
            <p:cNvSpPr/>
            <p:nvPr/>
          </p:nvSpPr>
          <p:spPr>
            <a:xfrm>
              <a:off x="2417423" y="6861217"/>
              <a:ext cx="5045430" cy="1240909"/>
            </a:xfrm>
            <a:prstGeom prst="roundRect">
              <a:avLst>
                <a:gd name="adj" fmla="val 30995"/>
              </a:avLst>
            </a:prstGeom>
            <a:solidFill>
              <a:schemeClr val="tx2">
                <a:alpha val="74777"/>
              </a:schemeClr>
            </a:solidFill>
            <a:ln>
              <a:gradFill flip="none" rotWithShape="1">
                <a:gsLst>
                  <a:gs pos="0">
                    <a:schemeClr val="bg2">
                      <a:alpha val="50000"/>
                    </a:schemeClr>
                  </a:gs>
                  <a:gs pos="100000">
                    <a:schemeClr val="bg1">
                      <a:alpha val="10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rIns="216000" rtlCol="0" anchor="ctr"/>
            <a:lstStyle/>
            <a:p>
              <a:pPr algn="r">
                <a:lnSpc>
                  <a:spcPct val="90000"/>
                </a:lnSpc>
              </a:pPr>
              <a:r>
                <a:rPr lang="ru-RU" sz="2400" dirty="0">
                  <a:sym typeface="Georgia"/>
                </a:rPr>
                <a:t>когда обходили несколько </a:t>
              </a:r>
              <a:br>
                <a:rPr lang="ru-RU" sz="2400" dirty="0">
                  <a:sym typeface="Georgia"/>
                </a:rPr>
              </a:br>
              <a:r>
                <a:rPr lang="ru-RU" sz="2400" dirty="0">
                  <a:sym typeface="Georgia"/>
                </a:rPr>
                <a:t>магазинов, сравнивая цены?</a:t>
              </a:r>
            </a:p>
          </p:txBody>
        </p:sp>
        <p:sp>
          <p:nvSpPr>
            <p:cNvPr id="77" name="Овал 20">
              <a:extLst>
                <a:ext uri="{FF2B5EF4-FFF2-40B4-BE49-F238E27FC236}">
                  <a16:creationId xmlns:a16="http://schemas.microsoft.com/office/drawing/2014/main" id="{759334FD-E627-BA38-B874-6F3199C4877F}"/>
                </a:ext>
              </a:extLst>
            </p:cNvPr>
            <p:cNvSpPr/>
            <p:nvPr/>
          </p:nvSpPr>
          <p:spPr>
            <a:xfrm>
              <a:off x="7392842" y="7374095"/>
              <a:ext cx="215153" cy="21515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r"/>
              <a:endParaRPr lang="ru-RU" sz="320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A4DE5531-50A1-984B-3E99-3E0391E13903}"/>
              </a:ext>
            </a:extLst>
          </p:cNvPr>
          <p:cNvGrpSpPr/>
          <p:nvPr/>
        </p:nvGrpSpPr>
        <p:grpSpPr>
          <a:xfrm>
            <a:off x="25553411" y="1207330"/>
            <a:ext cx="5534315" cy="1240909"/>
            <a:chOff x="14626029" y="8536201"/>
            <a:chExt cx="5534315" cy="1240909"/>
          </a:xfrm>
        </p:grpSpPr>
        <p:sp>
          <p:nvSpPr>
            <p:cNvPr id="79" name="Скругленный прямоугольник 10">
              <a:extLst>
                <a:ext uri="{FF2B5EF4-FFF2-40B4-BE49-F238E27FC236}">
                  <a16:creationId xmlns:a16="http://schemas.microsoft.com/office/drawing/2014/main" id="{7B4CBCFF-B144-E485-E62F-BFAA107DA370}"/>
                </a:ext>
              </a:extLst>
            </p:cNvPr>
            <p:cNvSpPr/>
            <p:nvPr/>
          </p:nvSpPr>
          <p:spPr>
            <a:xfrm>
              <a:off x="14703738" y="8536201"/>
              <a:ext cx="5456606" cy="1240909"/>
            </a:xfrm>
            <a:prstGeom prst="roundRect">
              <a:avLst>
                <a:gd name="adj" fmla="val 30995"/>
              </a:avLst>
            </a:prstGeom>
            <a:solidFill>
              <a:schemeClr val="tx2">
                <a:alpha val="74777"/>
              </a:schemeClr>
            </a:solidFill>
            <a:ln>
              <a:gradFill flip="none" rotWithShape="1">
                <a:gsLst>
                  <a:gs pos="0">
                    <a:schemeClr val="bg2">
                      <a:alpha val="50000"/>
                    </a:schemeClr>
                  </a:gs>
                  <a:gs pos="100000">
                    <a:schemeClr val="bg1">
                      <a:alpha val="10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rIns="216000" rtlCol="0" anchor="ctr"/>
            <a:lstStyle/>
            <a:p>
              <a:pPr>
                <a:lnSpc>
                  <a:spcPct val="90000"/>
                </a:lnSpc>
              </a:pPr>
              <a:r>
                <a:rPr lang="ru-RU" sz="2400" dirty="0">
                  <a:sym typeface="Georgia"/>
                </a:rPr>
                <a:t>когда ждали доставки </a:t>
              </a:r>
              <a:br>
                <a:rPr lang="ru-RU" sz="2400" dirty="0">
                  <a:sym typeface="Georgia"/>
                </a:rPr>
              </a:br>
              <a:r>
                <a:rPr lang="ru-RU" sz="2400" dirty="0">
                  <a:sym typeface="Georgia"/>
                </a:rPr>
                <a:t>из другого города неделями?</a:t>
              </a:r>
            </a:p>
          </p:txBody>
        </p:sp>
        <p:sp>
          <p:nvSpPr>
            <p:cNvPr id="80" name="Овал 20">
              <a:extLst>
                <a:ext uri="{FF2B5EF4-FFF2-40B4-BE49-F238E27FC236}">
                  <a16:creationId xmlns:a16="http://schemas.microsoft.com/office/drawing/2014/main" id="{8591D915-38BE-AD09-AD36-0CDD172B1BF4}"/>
                </a:ext>
              </a:extLst>
            </p:cNvPr>
            <p:cNvSpPr/>
            <p:nvPr/>
          </p:nvSpPr>
          <p:spPr>
            <a:xfrm>
              <a:off x="14626029" y="9049079"/>
              <a:ext cx="215153" cy="21515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l"/>
              <a:endParaRPr lang="ru-RU" sz="320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69706749-64ED-C63F-FE76-DFB68A876C5F}"/>
              </a:ext>
            </a:extLst>
          </p:cNvPr>
          <p:cNvGrpSpPr/>
          <p:nvPr/>
        </p:nvGrpSpPr>
        <p:grpSpPr>
          <a:xfrm>
            <a:off x="-6680991" y="2325304"/>
            <a:ext cx="4812019" cy="1240909"/>
            <a:chOff x="2795976" y="6861217"/>
            <a:chExt cx="4812019" cy="1240909"/>
          </a:xfrm>
        </p:grpSpPr>
        <p:sp>
          <p:nvSpPr>
            <p:cNvPr id="82" name="Скругленный прямоугольник 10">
              <a:extLst>
                <a:ext uri="{FF2B5EF4-FFF2-40B4-BE49-F238E27FC236}">
                  <a16:creationId xmlns:a16="http://schemas.microsoft.com/office/drawing/2014/main" id="{638E34AF-0EC8-F15D-19D3-7B666BA6819B}"/>
                </a:ext>
              </a:extLst>
            </p:cNvPr>
            <p:cNvSpPr/>
            <p:nvPr/>
          </p:nvSpPr>
          <p:spPr>
            <a:xfrm>
              <a:off x="2795976" y="6861217"/>
              <a:ext cx="4666877" cy="1240909"/>
            </a:xfrm>
            <a:prstGeom prst="roundRect">
              <a:avLst>
                <a:gd name="adj" fmla="val 30995"/>
              </a:avLst>
            </a:prstGeom>
            <a:solidFill>
              <a:schemeClr val="tx2">
                <a:alpha val="74777"/>
              </a:schemeClr>
            </a:solidFill>
            <a:ln>
              <a:gradFill flip="none" rotWithShape="1">
                <a:gsLst>
                  <a:gs pos="0">
                    <a:schemeClr val="bg2">
                      <a:alpha val="50000"/>
                    </a:schemeClr>
                  </a:gs>
                  <a:gs pos="100000">
                    <a:schemeClr val="bg1">
                      <a:alpha val="10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rIns="216000" rtlCol="0" anchor="ctr"/>
            <a:lstStyle/>
            <a:p>
              <a:pPr algn="r">
                <a:lnSpc>
                  <a:spcPct val="90000"/>
                </a:lnSpc>
              </a:pPr>
              <a:r>
                <a:rPr lang="ru-RU" sz="2400" dirty="0">
                  <a:sym typeface="Georgia"/>
                </a:rPr>
                <a:t>когда звали соседа, чтобы </a:t>
              </a:r>
              <a:br>
                <a:rPr lang="ru-RU" sz="2400" dirty="0">
                  <a:sym typeface="Georgia"/>
                </a:rPr>
              </a:br>
              <a:r>
                <a:rPr lang="ru-RU" sz="2400" dirty="0">
                  <a:sym typeface="Georgia"/>
                </a:rPr>
                <a:t>помочь собрать шкаф</a:t>
              </a:r>
            </a:p>
          </p:txBody>
        </p:sp>
        <p:sp>
          <p:nvSpPr>
            <p:cNvPr id="83" name="Овал 20">
              <a:extLst>
                <a:ext uri="{FF2B5EF4-FFF2-40B4-BE49-F238E27FC236}">
                  <a16:creationId xmlns:a16="http://schemas.microsoft.com/office/drawing/2014/main" id="{CBB7E348-2185-FAAA-3304-028F850A2D41}"/>
                </a:ext>
              </a:extLst>
            </p:cNvPr>
            <p:cNvSpPr/>
            <p:nvPr/>
          </p:nvSpPr>
          <p:spPr>
            <a:xfrm>
              <a:off x="7392842" y="7374095"/>
              <a:ext cx="215153" cy="21515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r"/>
              <a:endParaRPr lang="ru-RU" sz="32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84" name="Rectangle 83">
            <a:extLst>
              <a:ext uri="{FF2B5EF4-FFF2-40B4-BE49-F238E27FC236}">
                <a16:creationId xmlns:a16="http://schemas.microsoft.com/office/drawing/2014/main" id="{6E596336-4122-6C2F-2E51-5F5AD16C012E}"/>
              </a:ext>
            </a:extLst>
          </p:cNvPr>
          <p:cNvSpPr/>
          <p:nvPr/>
        </p:nvSpPr>
        <p:spPr>
          <a:xfrm rot="10800000">
            <a:off x="8910436" y="477252"/>
            <a:ext cx="6634364" cy="1223905"/>
          </a:xfrm>
          <a:prstGeom prst="rect">
            <a:avLst/>
          </a:prstGeom>
          <a:gradFill>
            <a:gsLst>
              <a:gs pos="0">
                <a:schemeClr val="tx2">
                  <a:alpha val="0"/>
                </a:schemeClr>
              </a:gs>
              <a:gs pos="100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l"/>
            <a:endParaRPr lang="en-GB" sz="3200" dirty="0" err="1">
              <a:solidFill>
                <a:schemeClr val="tx1"/>
              </a:solidFill>
            </a:endParaRP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BB875683-47AD-0E93-F458-B09C990FD74D}"/>
              </a:ext>
            </a:extLst>
          </p:cNvPr>
          <p:cNvPicPr>
            <a:picLocks/>
          </p:cNvPicPr>
          <p:nvPr/>
        </p:nvPicPr>
        <p:blipFill>
          <a:blip r:embed="rId9"/>
          <a:stretch/>
        </p:blipFill>
        <p:spPr>
          <a:xfrm>
            <a:off x="8564098" y="2133600"/>
            <a:ext cx="7705140" cy="13698027"/>
          </a:xfrm>
          <a:prstGeom prst="rect">
            <a:avLst/>
          </a:prstGeom>
        </p:spPr>
      </p:pic>
      <p:pic>
        <p:nvPicPr>
          <p:cNvPr id="90" name="Picture 89">
            <a:extLst>
              <a:ext uri="{FF2B5EF4-FFF2-40B4-BE49-F238E27FC236}">
                <a16:creationId xmlns:a16="http://schemas.microsoft.com/office/drawing/2014/main" id="{A75D55AA-7475-8F73-0FB6-5D59D4510E2A}"/>
              </a:ext>
            </a:extLst>
          </p:cNvPr>
          <p:cNvPicPr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8564098" y="2133600"/>
            <a:ext cx="7705140" cy="13698027"/>
          </a:xfrm>
          <a:prstGeom prst="rect">
            <a:avLst/>
          </a:prstGeom>
        </p:spPr>
      </p:pic>
      <p:pic>
        <p:nvPicPr>
          <p:cNvPr id="102" name="Picture 101">
            <a:extLst>
              <a:ext uri="{FF2B5EF4-FFF2-40B4-BE49-F238E27FC236}">
                <a16:creationId xmlns:a16="http://schemas.microsoft.com/office/drawing/2014/main" id="{E6ACD9B9-3B5E-7564-64B6-1C6605E379AB}"/>
              </a:ext>
            </a:extLst>
          </p:cNvPr>
          <p:cNvPicPr>
            <a:picLocks/>
          </p:cNvPicPr>
          <p:nvPr/>
        </p:nvPicPr>
        <p:blipFill>
          <a:blip r:embed="rId11"/>
          <a:stretch>
            <a:fillRect/>
          </a:stretch>
        </p:blipFill>
        <p:spPr>
          <a:xfrm>
            <a:off x="1244936" y="5875153"/>
            <a:ext cx="3222236" cy="3222236"/>
          </a:xfrm>
          <a:prstGeom prst="rect">
            <a:avLst/>
          </a:prstGeom>
        </p:spPr>
      </p:pic>
      <p:sp>
        <p:nvSpPr>
          <p:cNvPr id="103" name="TextBox 102">
            <a:extLst>
              <a:ext uri="{FF2B5EF4-FFF2-40B4-BE49-F238E27FC236}">
                <a16:creationId xmlns:a16="http://schemas.microsoft.com/office/drawing/2014/main" id="{3625594C-C5B5-3299-5BF3-166527091561}"/>
              </a:ext>
            </a:extLst>
          </p:cNvPr>
          <p:cNvSpPr txBox="1">
            <a:spLocks/>
          </p:cNvSpPr>
          <p:nvPr/>
        </p:nvSpPr>
        <p:spPr>
          <a:xfrm>
            <a:off x="2349073" y="9020967"/>
            <a:ext cx="4342316" cy="147732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dirty="0">
                <a:solidFill>
                  <a:schemeClr val="bg1">
                    <a:alpha val="44000"/>
                  </a:schemeClr>
                </a:solidFill>
                <a:latin typeface="+mn-lt"/>
                <a:cs typeface="+mn-cs"/>
              </a:rPr>
              <a:t>сократилось время подачи такси с 2010 </a:t>
            </a:r>
            <a:br>
              <a:rPr lang="ru-RU" dirty="0">
                <a:solidFill>
                  <a:schemeClr val="bg1">
                    <a:alpha val="44000"/>
                  </a:schemeClr>
                </a:solidFill>
                <a:latin typeface="+mn-lt"/>
                <a:cs typeface="+mn-cs"/>
              </a:rPr>
            </a:br>
            <a:r>
              <a:rPr lang="ru-RU" dirty="0">
                <a:solidFill>
                  <a:schemeClr val="bg1">
                    <a:alpha val="44000"/>
                  </a:schemeClr>
                </a:solidFill>
                <a:latin typeface="+mn-lt"/>
                <a:cs typeface="+mn-cs"/>
              </a:rPr>
              <a:t>по 2018 год 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E097611F-8E5D-46B6-308A-AE4CB726B41A}"/>
              </a:ext>
            </a:extLst>
          </p:cNvPr>
          <p:cNvSpPr txBox="1"/>
          <p:nvPr/>
        </p:nvSpPr>
        <p:spPr>
          <a:xfrm>
            <a:off x="2359632" y="8076688"/>
            <a:ext cx="4331758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5400" dirty="0">
                <a:solidFill>
                  <a:schemeClr val="bg1"/>
                </a:solidFill>
                <a:latin typeface="+mj-lt"/>
              </a:rPr>
              <a:t>с 30 до 5 мин.</a:t>
            </a:r>
            <a:endParaRPr lang="en-GB" sz="54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06" name="Picture 105">
            <a:extLst>
              <a:ext uri="{FF2B5EF4-FFF2-40B4-BE49-F238E27FC236}">
                <a16:creationId xmlns:a16="http://schemas.microsoft.com/office/drawing/2014/main" id="{27922A3E-2FB1-66D4-E737-2EA4E8F9CBC6}"/>
              </a:ext>
            </a:extLst>
          </p:cNvPr>
          <p:cNvPicPr>
            <a:picLocks/>
          </p:cNvPicPr>
          <p:nvPr/>
        </p:nvPicPr>
        <p:blipFill>
          <a:blip r:embed="rId12"/>
          <a:stretch>
            <a:fillRect/>
          </a:stretch>
        </p:blipFill>
        <p:spPr>
          <a:xfrm>
            <a:off x="3416555" y="3847174"/>
            <a:ext cx="3222236" cy="3222236"/>
          </a:xfrm>
          <a:prstGeom prst="rect">
            <a:avLst/>
          </a:prstGeom>
        </p:spPr>
      </p:pic>
      <p:sp>
        <p:nvSpPr>
          <p:cNvPr id="109" name="TextBox 108">
            <a:extLst>
              <a:ext uri="{FF2B5EF4-FFF2-40B4-BE49-F238E27FC236}">
                <a16:creationId xmlns:a16="http://schemas.microsoft.com/office/drawing/2014/main" id="{0A4A14C1-DA89-77F2-A659-F7389E6E6678}"/>
              </a:ext>
            </a:extLst>
          </p:cNvPr>
          <p:cNvSpPr txBox="1">
            <a:spLocks/>
          </p:cNvSpPr>
          <p:nvPr/>
        </p:nvSpPr>
        <p:spPr>
          <a:xfrm>
            <a:off x="5756497" y="5696465"/>
            <a:ext cx="4342316" cy="98488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dirty="0">
                <a:solidFill>
                  <a:schemeClr val="bg1">
                    <a:alpha val="44000"/>
                  </a:schemeClr>
                </a:solidFill>
                <a:latin typeface="+mn-lt"/>
                <a:cs typeface="+mn-cs"/>
              </a:rPr>
              <a:t>присутствия </a:t>
            </a:r>
            <a:br>
              <a:rPr lang="ru-RU" dirty="0">
                <a:solidFill>
                  <a:schemeClr val="bg1">
                    <a:alpha val="44000"/>
                  </a:schemeClr>
                </a:solidFill>
                <a:latin typeface="+mn-lt"/>
                <a:cs typeface="+mn-cs"/>
              </a:rPr>
            </a:br>
            <a:r>
              <a:rPr lang="ru-RU" dirty="0">
                <a:solidFill>
                  <a:schemeClr val="bg1">
                    <a:alpha val="44000"/>
                  </a:schemeClr>
                </a:solidFill>
                <a:latin typeface="+mn-lt"/>
                <a:cs typeface="+mn-cs"/>
              </a:rPr>
              <a:t>Лавки с 2019 г.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B35A7EE2-7788-F731-C361-8AD484D9BA40}"/>
              </a:ext>
            </a:extLst>
          </p:cNvPr>
          <p:cNvSpPr txBox="1"/>
          <p:nvPr/>
        </p:nvSpPr>
        <p:spPr>
          <a:xfrm>
            <a:off x="5767056" y="4752186"/>
            <a:ext cx="4331758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5400" dirty="0">
                <a:solidFill>
                  <a:schemeClr val="bg1"/>
                </a:solidFill>
                <a:latin typeface="+mj-lt"/>
              </a:rPr>
              <a:t>+25 городов</a:t>
            </a:r>
          </a:p>
        </p:txBody>
      </p:sp>
      <p:pic>
        <p:nvPicPr>
          <p:cNvPr id="112" name="Picture 111">
            <a:extLst>
              <a:ext uri="{FF2B5EF4-FFF2-40B4-BE49-F238E27FC236}">
                <a16:creationId xmlns:a16="http://schemas.microsoft.com/office/drawing/2014/main" id="{7C0DF93D-456A-4E53-01B3-B1B99B5980CC}"/>
              </a:ext>
            </a:extLst>
          </p:cNvPr>
          <p:cNvPicPr>
            <a:picLocks/>
          </p:cNvPicPr>
          <p:nvPr/>
        </p:nvPicPr>
        <p:blipFill>
          <a:blip r:embed="rId13"/>
          <a:stretch>
            <a:fillRect/>
          </a:stretch>
        </p:blipFill>
        <p:spPr>
          <a:xfrm>
            <a:off x="14490178" y="4942272"/>
            <a:ext cx="3222236" cy="3222236"/>
          </a:xfrm>
          <a:prstGeom prst="rect">
            <a:avLst/>
          </a:prstGeom>
        </p:spPr>
      </p:pic>
      <p:sp>
        <p:nvSpPr>
          <p:cNvPr id="114" name="TextBox 113">
            <a:extLst>
              <a:ext uri="{FF2B5EF4-FFF2-40B4-BE49-F238E27FC236}">
                <a16:creationId xmlns:a16="http://schemas.microsoft.com/office/drawing/2014/main" id="{575563CE-9895-31F6-A4CE-BB40DC78652E}"/>
              </a:ext>
            </a:extLst>
          </p:cNvPr>
          <p:cNvSpPr txBox="1">
            <a:spLocks/>
          </p:cNvSpPr>
          <p:nvPr/>
        </p:nvSpPr>
        <p:spPr>
          <a:xfrm>
            <a:off x="17151967" y="6326598"/>
            <a:ext cx="6037316" cy="196977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dirty="0">
                <a:solidFill>
                  <a:schemeClr val="bg1">
                    <a:alpha val="44000"/>
                  </a:schemeClr>
                </a:solidFill>
                <a:latin typeface="+mn-lt"/>
                <a:cs typeface="+mn-cs"/>
              </a:rPr>
              <a:t>ресторанов добавилось </a:t>
            </a:r>
            <a:br>
              <a:rPr lang="ru-RU" dirty="0">
                <a:solidFill>
                  <a:schemeClr val="bg1">
                    <a:alpha val="44000"/>
                  </a:schemeClr>
                </a:solidFill>
                <a:latin typeface="+mn-lt"/>
                <a:cs typeface="+mn-cs"/>
              </a:rPr>
            </a:br>
            <a:r>
              <a:rPr lang="ru-RU" dirty="0">
                <a:solidFill>
                  <a:schemeClr val="bg1">
                    <a:alpha val="44000"/>
                  </a:schemeClr>
                </a:solidFill>
                <a:latin typeface="+mn-lt"/>
                <a:cs typeface="+mn-cs"/>
              </a:rPr>
              <a:t>в каталог Яндекс Еды в 780 населенных пунктах России </a:t>
            </a:r>
            <a:br>
              <a:rPr lang="en-US" dirty="0">
                <a:solidFill>
                  <a:schemeClr val="bg1">
                    <a:alpha val="44000"/>
                  </a:schemeClr>
                </a:solidFill>
                <a:latin typeface="+mn-lt"/>
                <a:cs typeface="+mn-cs"/>
              </a:rPr>
            </a:br>
            <a:r>
              <a:rPr lang="ru-RU" dirty="0">
                <a:solidFill>
                  <a:schemeClr val="bg1">
                    <a:alpha val="44000"/>
                  </a:schemeClr>
                </a:solidFill>
                <a:latin typeface="+mn-lt"/>
                <a:cs typeface="+mn-cs"/>
              </a:rPr>
              <a:t>с 2020 по 2026г.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081E839C-7363-AA06-98E4-7209FE0ECD5E}"/>
              </a:ext>
            </a:extLst>
          </p:cNvPr>
          <p:cNvSpPr txBox="1"/>
          <p:nvPr/>
        </p:nvSpPr>
        <p:spPr>
          <a:xfrm>
            <a:off x="17151967" y="5471960"/>
            <a:ext cx="4331758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5400" dirty="0">
                <a:solidFill>
                  <a:schemeClr val="bg1"/>
                </a:solidFill>
                <a:latin typeface="+mj-lt"/>
              </a:rPr>
              <a:t>+43 тыс.</a:t>
            </a:r>
          </a:p>
        </p:txBody>
      </p:sp>
      <p:pic>
        <p:nvPicPr>
          <p:cNvPr id="118" name="Picture 117">
            <a:extLst>
              <a:ext uri="{FF2B5EF4-FFF2-40B4-BE49-F238E27FC236}">
                <a16:creationId xmlns:a16="http://schemas.microsoft.com/office/drawing/2014/main" id="{E7E3603F-3D24-1037-5759-D6BC7503FD67}"/>
              </a:ext>
            </a:extLst>
          </p:cNvPr>
          <p:cNvPicPr>
            <a:picLocks/>
          </p:cNvPicPr>
          <p:nvPr/>
        </p:nvPicPr>
        <p:blipFill>
          <a:blip r:embed="rId14"/>
          <a:stretch>
            <a:fillRect/>
          </a:stretch>
        </p:blipFill>
        <p:spPr>
          <a:xfrm>
            <a:off x="17602658" y="8778043"/>
            <a:ext cx="3222236" cy="3222236"/>
          </a:xfrm>
          <a:prstGeom prst="rect">
            <a:avLst/>
          </a:prstGeom>
        </p:spPr>
      </p:pic>
      <p:sp>
        <p:nvSpPr>
          <p:cNvPr id="120" name="TextBox 119">
            <a:extLst>
              <a:ext uri="{FF2B5EF4-FFF2-40B4-BE49-F238E27FC236}">
                <a16:creationId xmlns:a16="http://schemas.microsoft.com/office/drawing/2014/main" id="{291BCF37-67BE-05D5-FB6C-F6D56B114AA3}"/>
              </a:ext>
            </a:extLst>
          </p:cNvPr>
          <p:cNvSpPr txBox="1"/>
          <p:nvPr/>
        </p:nvSpPr>
        <p:spPr>
          <a:xfrm>
            <a:off x="20067459" y="9645117"/>
            <a:ext cx="5996968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4000" dirty="0">
                <a:solidFill>
                  <a:schemeClr val="bg1"/>
                </a:solidFill>
                <a:latin typeface="+mj-lt"/>
              </a:rPr>
              <a:t>доставка по клику 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B4975D15-3C70-00F2-A131-C1BEB3AACBA3}"/>
              </a:ext>
            </a:extLst>
          </p:cNvPr>
          <p:cNvSpPr txBox="1">
            <a:spLocks/>
          </p:cNvSpPr>
          <p:nvPr/>
        </p:nvSpPr>
        <p:spPr>
          <a:xfrm>
            <a:off x="20103173" y="10416490"/>
            <a:ext cx="3523127" cy="246221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b="1" dirty="0">
                <a:solidFill>
                  <a:schemeClr val="bg1">
                    <a:alpha val="44000"/>
                  </a:schemeClr>
                </a:solidFill>
                <a:latin typeface="+mn-lt"/>
                <a:cs typeface="+mn-cs"/>
              </a:rPr>
              <a:t>второе по популярности </a:t>
            </a:r>
            <a:r>
              <a:rPr lang="ru-RU" dirty="0">
                <a:solidFill>
                  <a:schemeClr val="bg1">
                    <a:alpha val="44000"/>
                  </a:schemeClr>
                </a:solidFill>
                <a:latin typeface="+mn-lt"/>
                <a:cs typeface="+mn-cs"/>
              </a:rPr>
              <a:t>место после самовывоза из пункта выдачи.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0C02101-45CD-12CA-9244-A5FEAF4748A3}"/>
              </a:ext>
            </a:extLst>
          </p:cNvPr>
          <p:cNvGrpSpPr/>
          <p:nvPr/>
        </p:nvGrpSpPr>
        <p:grpSpPr>
          <a:xfrm>
            <a:off x="15104720" y="15773229"/>
            <a:ext cx="7628280" cy="1240909"/>
            <a:chOff x="15104720" y="11082062"/>
            <a:chExt cx="7628280" cy="1240909"/>
          </a:xfrm>
        </p:grpSpPr>
        <p:sp>
          <p:nvSpPr>
            <p:cNvPr id="3" name="Скругленный прямоугольник 10">
              <a:extLst>
                <a:ext uri="{FF2B5EF4-FFF2-40B4-BE49-F238E27FC236}">
                  <a16:creationId xmlns:a16="http://schemas.microsoft.com/office/drawing/2014/main" id="{A60108B5-96D5-630B-FF2D-2C5058E2732A}"/>
                </a:ext>
              </a:extLst>
            </p:cNvPr>
            <p:cNvSpPr/>
            <p:nvPr/>
          </p:nvSpPr>
          <p:spPr>
            <a:xfrm>
              <a:off x="15212572" y="11082062"/>
              <a:ext cx="7520428" cy="1240909"/>
            </a:xfrm>
            <a:prstGeom prst="roundRect">
              <a:avLst>
                <a:gd name="adj" fmla="val 30995"/>
              </a:avLst>
            </a:prstGeom>
            <a:solidFill>
              <a:schemeClr val="tx2">
                <a:alpha val="74777"/>
              </a:schemeClr>
            </a:solidFill>
            <a:ln>
              <a:gradFill flip="none" rotWithShape="1">
                <a:gsLst>
                  <a:gs pos="0">
                    <a:schemeClr val="bg2">
                      <a:alpha val="50000"/>
                    </a:schemeClr>
                  </a:gs>
                  <a:gs pos="100000">
                    <a:schemeClr val="bg1">
                      <a:alpha val="10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rIns="216000" rtlCol="0" anchor="ctr"/>
            <a:lstStyle/>
            <a:p>
              <a:pPr>
                <a:lnSpc>
                  <a:spcPct val="90000"/>
                </a:lnSpc>
              </a:pPr>
              <a:r>
                <a:rPr lang="ru-RU" sz="2400" dirty="0">
                  <a:sym typeface="Georgia"/>
                </a:rPr>
                <a:t>когда ездили в Москву за покупками специально к Новому году или первому сентября</a:t>
              </a:r>
            </a:p>
          </p:txBody>
        </p:sp>
        <p:sp>
          <p:nvSpPr>
            <p:cNvPr id="5" name="Овал 20">
              <a:extLst>
                <a:ext uri="{FF2B5EF4-FFF2-40B4-BE49-F238E27FC236}">
                  <a16:creationId xmlns:a16="http://schemas.microsoft.com/office/drawing/2014/main" id="{73C49FA5-7A71-82B3-CC73-3FE3F6DC8990}"/>
                </a:ext>
              </a:extLst>
            </p:cNvPr>
            <p:cNvSpPr/>
            <p:nvPr/>
          </p:nvSpPr>
          <p:spPr>
            <a:xfrm>
              <a:off x="15104720" y="11594940"/>
              <a:ext cx="215153" cy="21515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r"/>
              <a:endParaRPr lang="ru-RU" sz="32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48384F51-A5C8-D86B-BD6B-E0A7BFDA554C}"/>
              </a:ext>
            </a:extLst>
          </p:cNvPr>
          <p:cNvSpPr txBox="1"/>
          <p:nvPr/>
        </p:nvSpPr>
        <p:spPr>
          <a:xfrm>
            <a:off x="892175" y="12848926"/>
            <a:ext cx="8127471" cy="5539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1800" dirty="0">
                <a:solidFill>
                  <a:schemeClr val="bg1">
                    <a:alpha val="56000"/>
                  </a:schemeClr>
                </a:solidFill>
                <a:latin typeface="+mn-lt"/>
              </a:rPr>
              <a:t>*по данным Городских </a:t>
            </a:r>
            <a:br>
              <a:rPr lang="ru-RU" sz="1800" dirty="0">
                <a:solidFill>
                  <a:schemeClr val="bg1">
                    <a:alpha val="56000"/>
                  </a:schemeClr>
                </a:solidFill>
                <a:latin typeface="+mn-lt"/>
              </a:rPr>
            </a:br>
            <a:r>
              <a:rPr lang="ru-RU" sz="1800" dirty="0">
                <a:solidFill>
                  <a:schemeClr val="bg1">
                    <a:alpha val="56000"/>
                  </a:schemeClr>
                </a:solidFill>
                <a:latin typeface="+mn-lt"/>
              </a:rPr>
              <a:t>сервисов Яндекса </a:t>
            </a:r>
            <a:endParaRPr lang="en-GB" sz="1800" dirty="0">
              <a:solidFill>
                <a:schemeClr val="bg1">
                  <a:alpha val="56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9501845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75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C4FA396-CAA1-A74A-3BBD-9332A5A2E5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2554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11E87C24-C53A-24B7-580C-7CFE01E8AAB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22"/>
          <a:stretch/>
        </p:blipFill>
        <p:spPr>
          <a:xfrm>
            <a:off x="-13930672" y="448"/>
            <a:ext cx="38313085" cy="1371555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2FAA553B-9A39-772F-5DC9-1E103BCB958A}"/>
              </a:ext>
            </a:extLst>
          </p:cNvPr>
          <p:cNvSpPr/>
          <p:nvPr/>
        </p:nvSpPr>
        <p:spPr>
          <a:xfrm>
            <a:off x="0" y="8176022"/>
            <a:ext cx="24382413" cy="5539978"/>
          </a:xfrm>
          <a:prstGeom prst="rect">
            <a:avLst/>
          </a:prstGeom>
          <a:gradFill>
            <a:gsLst>
              <a:gs pos="0">
                <a:schemeClr val="tx2">
                  <a:alpha val="0"/>
                </a:schemeClr>
              </a:gs>
              <a:gs pos="92000">
                <a:srgbClr val="14100C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l"/>
            <a:endParaRPr lang="en-GB" sz="3200" dirty="0" err="1">
              <a:solidFill>
                <a:schemeClr val="tx1"/>
              </a:solidFill>
            </a:endParaRPr>
          </a:p>
        </p:txBody>
      </p:sp>
      <p:sp>
        <p:nvSpPr>
          <p:cNvPr id="16" name="Скругленный прямоугольник 26">
            <a:extLst>
              <a:ext uri="{FF2B5EF4-FFF2-40B4-BE49-F238E27FC236}">
                <a16:creationId xmlns:a16="http://schemas.microsoft.com/office/drawing/2014/main" id="{EB585F98-DA70-7500-7C39-72711BEE2058}"/>
              </a:ext>
            </a:extLst>
          </p:cNvPr>
          <p:cNvSpPr/>
          <p:nvPr/>
        </p:nvSpPr>
        <p:spPr>
          <a:xfrm>
            <a:off x="1261114" y="3824332"/>
            <a:ext cx="3496589" cy="725243"/>
          </a:xfrm>
          <a:prstGeom prst="roundRect">
            <a:avLst>
              <a:gd name="adj" fmla="val 50000"/>
            </a:avLst>
          </a:prstGeom>
          <a:solidFill>
            <a:schemeClr val="accent4">
              <a:alpha val="15177"/>
            </a:schemeClr>
          </a:solidFill>
          <a:ln>
            <a:gradFill flip="none" rotWithShape="1">
              <a:gsLst>
                <a:gs pos="0">
                  <a:schemeClr val="bg2">
                    <a:alpha val="50000"/>
                  </a:schemeClr>
                </a:gs>
                <a:gs pos="100000">
                  <a:schemeClr val="bg1">
                    <a:alpha val="10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>
                <a:solidFill>
                  <a:schemeClr val="lt1">
                    <a:alpha val="74000"/>
                  </a:schemeClr>
                </a:solidFill>
              </a:rPr>
              <a:t>новые привычки</a:t>
            </a:r>
            <a:endParaRPr lang="en-US" sz="2800" dirty="0">
              <a:solidFill>
                <a:schemeClr val="lt1">
                  <a:alpha val="74000"/>
                </a:schemeClr>
              </a:solidFill>
            </a:endParaRPr>
          </a:p>
        </p:txBody>
      </p:sp>
      <p:sp>
        <p:nvSpPr>
          <p:cNvPr id="17" name="Скругленный прямоугольник 26">
            <a:extLst>
              <a:ext uri="{FF2B5EF4-FFF2-40B4-BE49-F238E27FC236}">
                <a16:creationId xmlns:a16="http://schemas.microsoft.com/office/drawing/2014/main" id="{43DADEB2-485F-6247-B8B1-3A219BF23C48}"/>
              </a:ext>
            </a:extLst>
          </p:cNvPr>
          <p:cNvSpPr/>
          <p:nvPr/>
        </p:nvSpPr>
        <p:spPr>
          <a:xfrm>
            <a:off x="4918714" y="3824332"/>
            <a:ext cx="3496589" cy="725243"/>
          </a:xfrm>
          <a:prstGeom prst="roundRect">
            <a:avLst>
              <a:gd name="adj" fmla="val 50000"/>
            </a:avLst>
          </a:prstGeom>
          <a:solidFill>
            <a:schemeClr val="accent4">
              <a:alpha val="15177"/>
            </a:schemeClr>
          </a:solidFill>
          <a:ln>
            <a:gradFill flip="none" rotWithShape="1">
              <a:gsLst>
                <a:gs pos="0">
                  <a:schemeClr val="bg2">
                    <a:alpha val="50000"/>
                  </a:schemeClr>
                </a:gs>
                <a:gs pos="100000">
                  <a:schemeClr val="bg1">
                    <a:alpha val="10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>
                <a:solidFill>
                  <a:schemeClr val="lt1">
                    <a:alpha val="74000"/>
                  </a:schemeClr>
                </a:solidFill>
              </a:rPr>
              <a:t>новые запросы</a:t>
            </a:r>
            <a:endParaRPr lang="en-US" sz="2800" dirty="0">
              <a:solidFill>
                <a:schemeClr val="lt1">
                  <a:alpha val="74000"/>
                </a:schemeClr>
              </a:solidFill>
            </a:endParaRPr>
          </a:p>
        </p:txBody>
      </p:sp>
      <p:sp>
        <p:nvSpPr>
          <p:cNvPr id="18" name="Скругленный прямоугольник 26">
            <a:extLst>
              <a:ext uri="{FF2B5EF4-FFF2-40B4-BE49-F238E27FC236}">
                <a16:creationId xmlns:a16="http://schemas.microsoft.com/office/drawing/2014/main" id="{B32A7905-B428-84D5-D1B9-A5760A4EAD64}"/>
              </a:ext>
            </a:extLst>
          </p:cNvPr>
          <p:cNvSpPr/>
          <p:nvPr/>
        </p:nvSpPr>
        <p:spPr>
          <a:xfrm>
            <a:off x="1261114" y="4814735"/>
            <a:ext cx="6354253" cy="725243"/>
          </a:xfrm>
          <a:prstGeom prst="roundRect">
            <a:avLst>
              <a:gd name="adj" fmla="val 50000"/>
            </a:avLst>
          </a:prstGeom>
          <a:solidFill>
            <a:schemeClr val="accent4">
              <a:alpha val="15177"/>
            </a:schemeClr>
          </a:solidFill>
          <a:ln>
            <a:gradFill flip="none" rotWithShape="1">
              <a:gsLst>
                <a:gs pos="0">
                  <a:schemeClr val="accent1"/>
                </a:gs>
                <a:gs pos="100000">
                  <a:schemeClr val="bg1">
                    <a:alpha val="10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>
                <a:solidFill>
                  <a:schemeClr val="accent1">
                    <a:alpha val="74000"/>
                  </a:schemeClr>
                </a:solidFill>
              </a:rPr>
              <a:t>новый уровень требовательности </a:t>
            </a:r>
            <a:endParaRPr lang="en-US" sz="2800" dirty="0">
              <a:solidFill>
                <a:schemeClr val="accent1">
                  <a:alpha val="74000"/>
                </a:schemeClr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037B056-3A43-646B-1C4E-78C384E0B112}"/>
              </a:ext>
            </a:extLst>
          </p:cNvPr>
          <p:cNvSpPr txBox="1"/>
          <p:nvPr/>
        </p:nvSpPr>
        <p:spPr>
          <a:xfrm>
            <a:off x="1261114" y="1547931"/>
            <a:ext cx="7626017" cy="1781898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>
            <a:defPPr>
              <a:defRPr lang="ru-RU"/>
            </a:defPPr>
            <a:lvl1pPr defTabSz="914217">
              <a:lnSpc>
                <a:spcPct val="80000"/>
              </a:lnSpc>
              <a:defRPr sz="4000" kern="0" spc="43">
                <a:solidFill>
                  <a:schemeClr val="bg1"/>
                </a:solidFill>
                <a:latin typeface="YS Geo Medium" pitchFamily="34" charset="0"/>
                <a:cs typeface="YS Geo Medium" pitchFamily="34" charset="-120"/>
              </a:defRPr>
            </a:lvl1pPr>
          </a:lstStyle>
          <a:p>
            <a:r>
              <a:rPr lang="ru-RU" sz="7200" dirty="0"/>
              <a:t>мы сформировали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8F90654-281C-8B51-D704-B3D9E8483ACF}"/>
              </a:ext>
            </a:extLst>
          </p:cNvPr>
          <p:cNvSpPr/>
          <p:nvPr/>
        </p:nvSpPr>
        <p:spPr>
          <a:xfrm rot="16200000">
            <a:off x="17220915" y="2245518"/>
            <a:ext cx="13716003" cy="9224959"/>
          </a:xfrm>
          <a:prstGeom prst="rect">
            <a:avLst/>
          </a:prstGeom>
          <a:gradFill>
            <a:gsLst>
              <a:gs pos="0">
                <a:schemeClr val="tx2">
                  <a:alpha val="0"/>
                </a:schemeClr>
              </a:gs>
              <a:gs pos="92000">
                <a:srgbClr val="14100C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l"/>
            <a:endParaRPr lang="en-GB" sz="32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3024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C4FA396-CAA1-A74A-3BBD-9332A5A2E5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4FA396-CAA1-A74A-3BBD-9332A5A2E5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11E87C24-C53A-24B7-580C-7CFE01E8AAB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22"/>
          <a:stretch/>
        </p:blipFill>
        <p:spPr>
          <a:xfrm>
            <a:off x="0" y="448"/>
            <a:ext cx="38313085" cy="1371555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2FAA553B-9A39-772F-5DC9-1E103BCB958A}"/>
              </a:ext>
            </a:extLst>
          </p:cNvPr>
          <p:cNvSpPr/>
          <p:nvPr/>
        </p:nvSpPr>
        <p:spPr>
          <a:xfrm>
            <a:off x="0" y="8176022"/>
            <a:ext cx="24382413" cy="5539978"/>
          </a:xfrm>
          <a:prstGeom prst="rect">
            <a:avLst/>
          </a:prstGeom>
          <a:gradFill>
            <a:gsLst>
              <a:gs pos="0">
                <a:schemeClr val="tx2">
                  <a:alpha val="0"/>
                </a:schemeClr>
              </a:gs>
              <a:gs pos="92000">
                <a:srgbClr val="14100C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l"/>
            <a:endParaRPr lang="en-GB" sz="3200" dirty="0" err="1">
              <a:solidFill>
                <a:schemeClr val="tx1"/>
              </a:solidFill>
            </a:endParaRPr>
          </a:p>
        </p:txBody>
      </p:sp>
      <p:sp>
        <p:nvSpPr>
          <p:cNvPr id="16" name="Скругленный прямоугольник 26">
            <a:extLst>
              <a:ext uri="{FF2B5EF4-FFF2-40B4-BE49-F238E27FC236}">
                <a16:creationId xmlns:a16="http://schemas.microsoft.com/office/drawing/2014/main" id="{EB585F98-DA70-7500-7C39-72711BEE2058}"/>
              </a:ext>
            </a:extLst>
          </p:cNvPr>
          <p:cNvSpPr/>
          <p:nvPr/>
        </p:nvSpPr>
        <p:spPr>
          <a:xfrm>
            <a:off x="14239694" y="3824332"/>
            <a:ext cx="3496589" cy="725243"/>
          </a:xfrm>
          <a:prstGeom prst="roundRect">
            <a:avLst>
              <a:gd name="adj" fmla="val 50000"/>
            </a:avLst>
          </a:prstGeom>
          <a:solidFill>
            <a:schemeClr val="accent4">
              <a:alpha val="15177"/>
            </a:schemeClr>
          </a:solidFill>
          <a:ln>
            <a:gradFill flip="none" rotWithShape="1">
              <a:gsLst>
                <a:gs pos="0">
                  <a:schemeClr val="bg2">
                    <a:alpha val="50000"/>
                  </a:schemeClr>
                </a:gs>
                <a:gs pos="100000">
                  <a:schemeClr val="bg1">
                    <a:alpha val="10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>
                <a:solidFill>
                  <a:schemeClr val="lt1">
                    <a:alpha val="74000"/>
                  </a:schemeClr>
                </a:solidFill>
              </a:rPr>
              <a:t>новые привычки</a:t>
            </a:r>
            <a:endParaRPr lang="en-US" sz="2800" dirty="0">
              <a:solidFill>
                <a:schemeClr val="lt1">
                  <a:alpha val="74000"/>
                </a:schemeClr>
              </a:solidFill>
            </a:endParaRPr>
          </a:p>
        </p:txBody>
      </p:sp>
      <p:sp>
        <p:nvSpPr>
          <p:cNvPr id="17" name="Скругленный прямоугольник 26">
            <a:extLst>
              <a:ext uri="{FF2B5EF4-FFF2-40B4-BE49-F238E27FC236}">
                <a16:creationId xmlns:a16="http://schemas.microsoft.com/office/drawing/2014/main" id="{43DADEB2-485F-6247-B8B1-3A219BF23C48}"/>
              </a:ext>
            </a:extLst>
          </p:cNvPr>
          <p:cNvSpPr/>
          <p:nvPr/>
        </p:nvSpPr>
        <p:spPr>
          <a:xfrm>
            <a:off x="17897294" y="3824332"/>
            <a:ext cx="3496589" cy="725243"/>
          </a:xfrm>
          <a:prstGeom prst="roundRect">
            <a:avLst>
              <a:gd name="adj" fmla="val 50000"/>
            </a:avLst>
          </a:prstGeom>
          <a:solidFill>
            <a:schemeClr val="accent4">
              <a:alpha val="15177"/>
            </a:schemeClr>
          </a:solidFill>
          <a:ln>
            <a:gradFill flip="none" rotWithShape="1">
              <a:gsLst>
                <a:gs pos="0">
                  <a:schemeClr val="bg2">
                    <a:alpha val="50000"/>
                  </a:schemeClr>
                </a:gs>
                <a:gs pos="100000">
                  <a:schemeClr val="bg1">
                    <a:alpha val="10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>
                <a:solidFill>
                  <a:schemeClr val="lt1">
                    <a:alpha val="74000"/>
                  </a:schemeClr>
                </a:solidFill>
              </a:rPr>
              <a:t>новые запросы</a:t>
            </a:r>
            <a:endParaRPr lang="en-US" sz="2800" dirty="0">
              <a:solidFill>
                <a:schemeClr val="lt1">
                  <a:alpha val="74000"/>
                </a:schemeClr>
              </a:solidFill>
            </a:endParaRPr>
          </a:p>
        </p:txBody>
      </p:sp>
      <p:sp>
        <p:nvSpPr>
          <p:cNvPr id="18" name="Скругленный прямоугольник 26">
            <a:extLst>
              <a:ext uri="{FF2B5EF4-FFF2-40B4-BE49-F238E27FC236}">
                <a16:creationId xmlns:a16="http://schemas.microsoft.com/office/drawing/2014/main" id="{B32A7905-B428-84D5-D1B9-A5760A4EAD64}"/>
              </a:ext>
            </a:extLst>
          </p:cNvPr>
          <p:cNvSpPr/>
          <p:nvPr/>
        </p:nvSpPr>
        <p:spPr>
          <a:xfrm>
            <a:off x="14239694" y="4814735"/>
            <a:ext cx="6354253" cy="725243"/>
          </a:xfrm>
          <a:prstGeom prst="roundRect">
            <a:avLst>
              <a:gd name="adj" fmla="val 50000"/>
            </a:avLst>
          </a:prstGeom>
          <a:solidFill>
            <a:schemeClr val="accent4">
              <a:alpha val="15177"/>
            </a:schemeClr>
          </a:solidFill>
          <a:ln>
            <a:gradFill flip="none" rotWithShape="1">
              <a:gsLst>
                <a:gs pos="0">
                  <a:schemeClr val="accent1"/>
                </a:gs>
                <a:gs pos="100000">
                  <a:schemeClr val="bg1">
                    <a:alpha val="10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>
                <a:solidFill>
                  <a:schemeClr val="accent1">
                    <a:alpha val="74000"/>
                  </a:schemeClr>
                </a:solidFill>
              </a:rPr>
              <a:t>новый уровень требовательности </a:t>
            </a:r>
            <a:endParaRPr lang="en-US" sz="2800" dirty="0">
              <a:solidFill>
                <a:schemeClr val="accent1">
                  <a:alpha val="74000"/>
                </a:schemeClr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037B056-3A43-646B-1C4E-78C384E0B112}"/>
              </a:ext>
            </a:extLst>
          </p:cNvPr>
          <p:cNvSpPr txBox="1"/>
          <p:nvPr/>
        </p:nvSpPr>
        <p:spPr>
          <a:xfrm>
            <a:off x="14239694" y="1547931"/>
            <a:ext cx="7626017" cy="1781898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>
            <a:defPPr>
              <a:defRPr lang="ru-RU"/>
            </a:defPPr>
            <a:lvl1pPr defTabSz="914217">
              <a:lnSpc>
                <a:spcPct val="80000"/>
              </a:lnSpc>
              <a:defRPr sz="4000" kern="0" spc="43">
                <a:solidFill>
                  <a:schemeClr val="bg1"/>
                </a:solidFill>
                <a:latin typeface="YS Geo Medium" pitchFamily="34" charset="0"/>
                <a:cs typeface="YS Geo Medium" pitchFamily="34" charset="-120"/>
              </a:defRPr>
            </a:lvl1pPr>
          </a:lstStyle>
          <a:p>
            <a:r>
              <a:rPr lang="ru-RU" sz="7200" dirty="0"/>
              <a:t>мы сформировали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8907229-92B3-6D67-AB5B-96566C1355A9}"/>
              </a:ext>
            </a:extLst>
          </p:cNvPr>
          <p:cNvSpPr txBox="1"/>
          <p:nvPr/>
        </p:nvSpPr>
        <p:spPr>
          <a:xfrm>
            <a:off x="779892" y="2327848"/>
            <a:ext cx="10707258" cy="426757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pPr>
              <a:lnSpc>
                <a:spcPct val="70000"/>
              </a:lnSpc>
            </a:pPr>
            <a:r>
              <a:rPr lang="ru-RU" sz="13000" dirty="0">
                <a:gradFill flip="none" rotWithShape="1">
                  <a:gsLst>
                    <a:gs pos="100000">
                      <a:schemeClr val="accent1">
                        <a:alpha val="54000"/>
                      </a:schemeClr>
                    </a:gs>
                    <a:gs pos="0">
                      <a:schemeClr val="bg1"/>
                    </a:gs>
                  </a:gsLst>
                  <a:lin ang="0" scaled="1"/>
                  <a:tileRect/>
                </a:gradFill>
                <a:latin typeface="+mj-lt"/>
                <a:ea typeface="Yango Text" panose="020B0504020202020204" pitchFamily="34" charset="-79"/>
                <a:cs typeface="Yango Text" panose="020B0504020202020204" pitchFamily="34" charset="-79"/>
              </a:rPr>
              <a:t>новый</a:t>
            </a:r>
            <a:br>
              <a:rPr lang="ru-RU" sz="13000" dirty="0">
                <a:gradFill flip="none" rotWithShape="1">
                  <a:gsLst>
                    <a:gs pos="100000">
                      <a:schemeClr val="accent1">
                        <a:alpha val="54000"/>
                      </a:schemeClr>
                    </a:gs>
                    <a:gs pos="0">
                      <a:schemeClr val="bg1"/>
                    </a:gs>
                  </a:gsLst>
                  <a:lin ang="0" scaled="1"/>
                  <a:tileRect/>
                </a:gradFill>
                <a:latin typeface="+mj-lt"/>
                <a:ea typeface="Yango Text" panose="020B0504020202020204" pitchFamily="34" charset="-79"/>
                <a:cs typeface="Yango Text" panose="020B0504020202020204" pitchFamily="34" charset="-79"/>
              </a:rPr>
            </a:br>
            <a:r>
              <a:rPr lang="ru-RU" sz="13000" dirty="0">
                <a:gradFill flip="none" rotWithShape="1">
                  <a:gsLst>
                    <a:gs pos="100000">
                      <a:schemeClr val="accent1">
                        <a:alpha val="54000"/>
                      </a:schemeClr>
                    </a:gs>
                    <a:gs pos="0">
                      <a:schemeClr val="bg1"/>
                    </a:gs>
                  </a:gsLst>
                  <a:lin ang="0" scaled="1"/>
                  <a:tileRect/>
                </a:gradFill>
                <a:latin typeface="+mj-lt"/>
                <a:ea typeface="Yango Text" panose="020B0504020202020204" pitchFamily="34" charset="-79"/>
                <a:cs typeface="Yango Text" panose="020B0504020202020204" pitchFamily="34" charset="-79"/>
              </a:rPr>
              <a:t>культурный код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7F4DC31-0FE8-E4F0-F7BA-FC971A4BA4AD}"/>
              </a:ext>
            </a:extLst>
          </p:cNvPr>
          <p:cNvSpPr/>
          <p:nvPr/>
        </p:nvSpPr>
        <p:spPr>
          <a:xfrm rot="16200000">
            <a:off x="12911932" y="2245518"/>
            <a:ext cx="13716003" cy="9224959"/>
          </a:xfrm>
          <a:prstGeom prst="rect">
            <a:avLst/>
          </a:prstGeom>
          <a:gradFill>
            <a:gsLst>
              <a:gs pos="0">
                <a:schemeClr val="tx2">
                  <a:alpha val="0"/>
                </a:schemeClr>
              </a:gs>
              <a:gs pos="92000">
                <a:srgbClr val="14100C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l"/>
            <a:endParaRPr lang="en-GB" sz="3200" dirty="0" err="1">
              <a:solidFill>
                <a:schemeClr val="tx1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263AB1F-B287-877F-592C-6507DB0D731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92175" y="584708"/>
            <a:ext cx="3089275" cy="450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11920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3EDAB40-79FE-C102-98DA-5114ED39E1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5556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78722DF5-6A06-7F5D-5D2F-F147BB77A9D2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06652" y="0"/>
            <a:ext cx="26789064" cy="13716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3D4AD5A-789B-81C7-7BB6-D9F9122FA075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06651" y="0"/>
            <a:ext cx="26789064" cy="1371600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B86A7D39-0C2F-C552-26D6-E23D13467AE9}"/>
              </a:ext>
            </a:extLst>
          </p:cNvPr>
          <p:cNvSpPr txBox="1"/>
          <p:nvPr/>
        </p:nvSpPr>
        <p:spPr>
          <a:xfrm>
            <a:off x="892175" y="9593451"/>
            <a:ext cx="7298894" cy="147732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4800" dirty="0">
                <a:solidFill>
                  <a:schemeClr val="bg1"/>
                </a:solidFill>
                <a:latin typeface="+mj-lt"/>
              </a:rPr>
              <a:t>тип человека, которого </a:t>
            </a:r>
            <a:r>
              <a:rPr lang="ru-RU" sz="4800" strike="sngStrike" dirty="0">
                <a:solidFill>
                  <a:schemeClr val="bg1"/>
                </a:solidFill>
                <a:latin typeface="+mj-lt"/>
              </a:rPr>
              <a:t>создал</a:t>
            </a:r>
            <a:r>
              <a:rPr lang="ru-RU" sz="4800" dirty="0">
                <a:solidFill>
                  <a:schemeClr val="bg1"/>
                </a:solidFill>
                <a:latin typeface="+mj-lt"/>
              </a:rPr>
              <a:t> избаловал Яндекс </a:t>
            </a:r>
            <a:endParaRPr lang="en-GB" sz="48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BB5E669-94F7-A979-A519-29147EAC7360}"/>
              </a:ext>
            </a:extLst>
          </p:cNvPr>
          <p:cNvSpPr txBox="1">
            <a:spLocks/>
          </p:cNvSpPr>
          <p:nvPr/>
        </p:nvSpPr>
        <p:spPr>
          <a:xfrm>
            <a:off x="892606" y="2040458"/>
            <a:ext cx="22597201" cy="551253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defTabSz="1828619">
              <a:lnSpc>
                <a:spcPct val="80000"/>
              </a:lnSpc>
              <a:spcBef>
                <a:spcPct val="0"/>
              </a:spcBef>
              <a:buNone/>
              <a:defRPr sz="10000" b="0" i="0">
                <a:gradFill flip="none" rotWithShape="1">
                  <a:gsLst>
                    <a:gs pos="0">
                      <a:schemeClr val="bg1"/>
                    </a:gs>
                    <a:gs pos="100000">
                      <a:srgbClr val="78CADF">
                        <a:alpha val="53000"/>
                      </a:srgbClr>
                    </a:gs>
                  </a:gsLst>
                  <a:lin ang="10800000" scaled="1"/>
                  <a:tileRect/>
                </a:gradFill>
                <a:latin typeface="+mj-lt"/>
                <a:ea typeface="+mj-ea"/>
                <a:cs typeface="YS Display Cond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dirty="0"/>
              <a:t>познакомьтесь, </a:t>
            </a:r>
            <a:br>
              <a:rPr lang="en-US" dirty="0"/>
            </a:br>
            <a:r>
              <a:rPr lang="ru-RU" sz="17300" dirty="0"/>
              <a:t>homo </a:t>
            </a:r>
            <a:br>
              <a:rPr lang="en-US" sz="17300" dirty="0"/>
            </a:br>
            <a:r>
              <a:rPr lang="ru-RU" sz="17300" dirty="0" err="1"/>
              <a:t>intolerance</a:t>
            </a:r>
            <a:r>
              <a:rPr lang="ru-RU" sz="17300" dirty="0"/>
              <a:t> </a:t>
            </a:r>
            <a:endParaRPr lang="en-GB" sz="17300" dirty="0"/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684CDE6A-0273-3F0E-4FA3-A852EC0AE8D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92175" y="584708"/>
            <a:ext cx="3089275" cy="450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0689635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3EDAB40-79FE-C102-98DA-5114ED39E1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1361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EDAB40-79FE-C102-98DA-5114ED39E1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blue and black background&#10;&#10;AI-generated content may be incorrect.">
            <a:extLst>
              <a:ext uri="{FF2B5EF4-FFF2-40B4-BE49-F238E27FC236}">
                <a16:creationId xmlns:a16="http://schemas.microsoft.com/office/drawing/2014/main" id="{DE198153-9E87-3EAA-42DF-D13BE27BFF75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24385311" cy="1371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897CD25-F585-59FB-7D4E-755ACBA05F22}"/>
              </a:ext>
            </a:extLst>
          </p:cNvPr>
          <p:cNvSpPr txBox="1"/>
          <p:nvPr/>
        </p:nvSpPr>
        <p:spPr>
          <a:xfrm>
            <a:off x="1825957" y="836429"/>
            <a:ext cx="21638621" cy="2375843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>
            <a:defPPr>
              <a:defRPr lang="ru-RU"/>
            </a:defPPr>
            <a:lvl1pPr defTabSz="914217">
              <a:lnSpc>
                <a:spcPct val="80000"/>
              </a:lnSpc>
              <a:defRPr sz="4000" kern="0" spc="43">
                <a:solidFill>
                  <a:schemeClr val="bg1"/>
                </a:solidFill>
                <a:latin typeface="YS Geo Medium" pitchFamily="34" charset="0"/>
                <a:cs typeface="YS Geo Medium" pitchFamily="34" charset="-120"/>
              </a:defRPr>
            </a:lvl1pPr>
          </a:lstStyle>
          <a:p>
            <a:pPr algn="ctr"/>
            <a:r>
              <a:rPr lang="ru-RU" sz="9600" kern="1200" dirty="0">
                <a:gradFill flip="none" rotWithShape="1">
                  <a:gsLst>
                    <a:gs pos="0">
                      <a:schemeClr val="tx2"/>
                    </a:gs>
                    <a:gs pos="100000">
                      <a:schemeClr val="tx2">
                        <a:alpha val="43000"/>
                      </a:schemeClr>
                    </a:gs>
                  </a:gsLst>
                  <a:lin ang="10800000" scaled="1"/>
                  <a:tileRect/>
                </a:gradFill>
                <a:latin typeface="+mj-lt"/>
                <a:ea typeface="+mj-ea"/>
                <a:cs typeface="YS Display Cond" pitchFamily="2" charset="0"/>
              </a:rPr>
              <a:t>поведенческие </a:t>
            </a:r>
            <a:br>
              <a:rPr lang="ru-RU" sz="9600" kern="1200" dirty="0">
                <a:gradFill flip="none" rotWithShape="1">
                  <a:gsLst>
                    <a:gs pos="0">
                      <a:schemeClr val="tx2"/>
                    </a:gs>
                    <a:gs pos="100000">
                      <a:schemeClr val="tx2">
                        <a:alpha val="43000"/>
                      </a:schemeClr>
                    </a:gs>
                  </a:gsLst>
                  <a:lin ang="10800000" scaled="1"/>
                  <a:tileRect/>
                </a:gradFill>
                <a:latin typeface="+mj-lt"/>
                <a:ea typeface="+mj-ea"/>
                <a:cs typeface="YS Display Cond" pitchFamily="2" charset="0"/>
              </a:rPr>
            </a:br>
            <a:r>
              <a:rPr lang="ru-RU" sz="9600" kern="1200" dirty="0">
                <a:gradFill flip="none" rotWithShape="1">
                  <a:gsLst>
                    <a:gs pos="0">
                      <a:schemeClr val="tx2"/>
                    </a:gs>
                    <a:gs pos="100000">
                      <a:schemeClr val="tx2">
                        <a:alpha val="43000"/>
                      </a:schemeClr>
                    </a:gs>
                  </a:gsLst>
                  <a:lin ang="10800000" scaled="1"/>
                  <a:tileRect/>
                </a:gradFill>
                <a:latin typeface="+mj-lt"/>
                <a:ea typeface="+mj-ea"/>
                <a:cs typeface="YS Display Cond" pitchFamily="2" charset="0"/>
              </a:rPr>
              <a:t>установки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3D4AD5A-789B-81C7-7BB6-D9F9122FA075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362450" y="1592326"/>
            <a:ext cx="23696612" cy="12132665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83A25246-7C60-57FA-5532-5B817CD11D29}"/>
              </a:ext>
            </a:extLst>
          </p:cNvPr>
          <p:cNvSpPr/>
          <p:nvPr/>
        </p:nvSpPr>
        <p:spPr>
          <a:xfrm>
            <a:off x="4148925" y="5162078"/>
            <a:ext cx="16084562" cy="4203118"/>
          </a:xfrm>
          <a:prstGeom prst="ellipse">
            <a:avLst/>
          </a:prstGeom>
          <a:noFill/>
          <a:ln>
            <a:gradFill flip="none" rotWithShape="1">
              <a:gsLst>
                <a:gs pos="0">
                  <a:schemeClr val="accent1"/>
                </a:gs>
                <a:gs pos="100000">
                  <a:schemeClr val="tx2">
                    <a:alpha val="0"/>
                  </a:schemeClr>
                </a:gs>
              </a:gsLst>
              <a:lin ang="162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l"/>
            <a:endParaRPr lang="en-GB" sz="3200" dirty="0" err="1">
              <a:solidFill>
                <a:schemeClr val="tx1"/>
              </a:solidFill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B0FCBF7E-D92C-351E-794A-475DBF56F28D}"/>
              </a:ext>
            </a:extLst>
          </p:cNvPr>
          <p:cNvSpPr/>
          <p:nvPr/>
        </p:nvSpPr>
        <p:spPr>
          <a:xfrm>
            <a:off x="4148925" y="5162078"/>
            <a:ext cx="16084562" cy="4203118"/>
          </a:xfrm>
          <a:prstGeom prst="ellipse">
            <a:avLst/>
          </a:prstGeom>
          <a:noFill/>
          <a:ln>
            <a:gradFill flip="none" rotWithShape="1">
              <a:gsLst>
                <a:gs pos="0">
                  <a:schemeClr val="accent1"/>
                </a:gs>
                <a:gs pos="100000">
                  <a:schemeClr val="tx2">
                    <a:alpha val="0"/>
                  </a:schemeClr>
                </a:gs>
              </a:gsLst>
              <a:lin ang="16200000" scaled="1"/>
              <a:tileRect/>
            </a:gradFill>
          </a:ln>
          <a:effectLst>
            <a:outerShdw blurRad="63500" dist="2540000" sx="102000" sy="102000" algn="ctr" rotWithShape="0">
              <a:schemeClr val="accent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l"/>
            <a:endParaRPr lang="en-GB" sz="3200" dirty="0" err="1">
              <a:solidFill>
                <a:schemeClr val="tx1"/>
              </a:solidFill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778CA740-F354-B3E5-DA85-98FAD571DC8C}"/>
              </a:ext>
            </a:extLst>
          </p:cNvPr>
          <p:cNvSpPr/>
          <p:nvPr/>
        </p:nvSpPr>
        <p:spPr>
          <a:xfrm>
            <a:off x="4177381" y="5162078"/>
            <a:ext cx="16084562" cy="4203118"/>
          </a:xfrm>
          <a:prstGeom prst="ellipse">
            <a:avLst/>
          </a:prstGeom>
          <a:noFill/>
          <a:ln>
            <a:gradFill flip="none" rotWithShape="1">
              <a:gsLst>
                <a:gs pos="0">
                  <a:schemeClr val="accent1"/>
                </a:gs>
                <a:gs pos="100000">
                  <a:schemeClr val="tx2">
                    <a:alpha val="0"/>
                  </a:schemeClr>
                </a:gs>
              </a:gsLst>
              <a:lin ang="16200000" scaled="1"/>
              <a:tileRect/>
            </a:gradFill>
          </a:ln>
          <a:effectLst>
            <a:outerShdw blurRad="63500" dist="2540000" dir="10800000" sx="102000" sy="102000" algn="ctr" rotWithShape="0">
              <a:schemeClr val="accent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l"/>
            <a:endParaRPr lang="en-GB" sz="3200" dirty="0" err="1">
              <a:solidFill>
                <a:schemeClr val="tx1"/>
              </a:solidFill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4ABCE58-96E1-D317-F967-21080DCB71F2}"/>
              </a:ext>
            </a:extLst>
          </p:cNvPr>
          <p:cNvGrpSpPr/>
          <p:nvPr/>
        </p:nvGrpSpPr>
        <p:grpSpPr>
          <a:xfrm>
            <a:off x="18689935" y="7902185"/>
            <a:ext cx="4886878" cy="2398592"/>
            <a:chOff x="19214739" y="9427698"/>
            <a:chExt cx="4886878" cy="2398592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F268B889-4C32-AFA0-B297-C40B3687FBE1}"/>
                </a:ext>
              </a:extLst>
            </p:cNvPr>
            <p:cNvSpPr/>
            <p:nvPr/>
          </p:nvSpPr>
          <p:spPr>
            <a:xfrm>
              <a:off x="19214739" y="9427698"/>
              <a:ext cx="829118" cy="829118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3200" dirty="0">
                  <a:solidFill>
                    <a:schemeClr val="tx1"/>
                  </a:solidFill>
                  <a:latin typeface="+mj-lt"/>
                </a:rPr>
                <a:t>3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9B091071-AF0A-3A41-CC35-D6D5776C0FE1}"/>
                </a:ext>
              </a:extLst>
            </p:cNvPr>
            <p:cNvSpPr txBox="1">
              <a:spLocks/>
            </p:cNvSpPr>
            <p:nvPr/>
          </p:nvSpPr>
          <p:spPr>
            <a:xfrm>
              <a:off x="19478917" y="10348962"/>
              <a:ext cx="4622700" cy="1477328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lvl="0" indent="0" defTabSz="1828619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Tx/>
                <a:buNone/>
                <a:defRPr sz="3200" b="0" i="0">
                  <a:latin typeface="YS Text Regular" pitchFamily="2" charset="0"/>
                  <a:cs typeface="YS Text Regular" pitchFamily="2" charset="0"/>
                </a:defRPr>
              </a:lvl1pPr>
              <a:lvl2pPr marL="36" marR="0" lvl="1" indent="0" defTabSz="1907905" fontAlgn="auto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bg2"/>
                </a:buClr>
                <a:buSzPct val="120000"/>
                <a:buFont typeface="Arial Unicode MS" panose="020B0604020202020204" pitchFamily="34" charset="-128"/>
                <a:buNone/>
                <a:tabLst/>
                <a:defRPr sz="3200" b="0" i="0" baseline="0">
                  <a:latin typeface="YS Text Regular" pitchFamily="2" charset="0"/>
                  <a:cs typeface="YS Text Regular" pitchFamily="2" charset="0"/>
                </a:defRPr>
              </a:lvl2pPr>
              <a:lvl3pPr marL="461237" marR="0" lvl="2" indent="-457200" defTabSz="1828619" fontAlgn="auto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sz="3200" b="0" i="0">
                  <a:latin typeface="YS Text Regular" pitchFamily="2" charset="0"/>
                  <a:cs typeface="YS Text Regular" pitchFamily="2" charset="0"/>
                </a:defRPr>
              </a:lvl3pPr>
              <a:lvl4pPr marL="1080000" lvl="3" indent="-457200" defTabSz="1828619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Font typeface="System Font Regular"/>
                <a:buChar char="−"/>
                <a:tabLst/>
                <a:defRPr sz="3200" b="0" i="0">
                  <a:latin typeface="YS Text Regular" pitchFamily="2" charset="0"/>
                  <a:cs typeface="YS Text Regular" pitchFamily="2" charset="0"/>
                </a:defRPr>
              </a:lvl4pPr>
              <a:lvl5pPr marL="0" lvl="4" indent="0" defTabSz="1828619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Tx/>
                <a:buNone/>
                <a:defRPr sz="3200" b="0" i="0" baseline="0">
                  <a:latin typeface="YS Text Regular" pitchFamily="2" charset="0"/>
                  <a:cs typeface="YS Text Regular" pitchFamily="2" charset="0"/>
                </a:defRPr>
              </a:lvl5pPr>
              <a:lvl6pPr marL="5028699" indent="-457155" defTabSz="1828619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</a:lvl6pPr>
              <a:lvl7pPr marL="5943007" indent="-457155" defTabSz="1828619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</a:lvl7pPr>
              <a:lvl8pPr marL="6857315" indent="-457155" defTabSz="1828619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</a:lvl8pPr>
              <a:lvl9pPr marL="7771623" indent="-457155" defTabSz="1828619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ru-RU" dirty="0">
                  <a:solidFill>
                    <a:schemeClr val="bg1"/>
                  </a:solidFill>
                  <a:latin typeface="+mj-lt"/>
                </a:rPr>
                <a:t>готовые решения вместо хаотичного выбора</a:t>
              </a:r>
              <a:endParaRPr lang="en-GB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A9C6C65-738F-98C7-5497-1FDCCECC1F5A}"/>
              </a:ext>
            </a:extLst>
          </p:cNvPr>
          <p:cNvGrpSpPr/>
          <p:nvPr/>
        </p:nvGrpSpPr>
        <p:grpSpPr>
          <a:xfrm>
            <a:off x="3146839" y="8201363"/>
            <a:ext cx="4622700" cy="2562896"/>
            <a:chOff x="1445610" y="8455175"/>
            <a:chExt cx="4622700" cy="2562896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747B9D6D-CF29-9468-8454-BB88A60CBEF2}"/>
                </a:ext>
              </a:extLst>
            </p:cNvPr>
            <p:cNvSpPr/>
            <p:nvPr/>
          </p:nvSpPr>
          <p:spPr>
            <a:xfrm>
              <a:off x="1445610" y="8455175"/>
              <a:ext cx="829118" cy="829118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3200" dirty="0">
                  <a:solidFill>
                    <a:schemeClr val="tx1"/>
                  </a:solidFill>
                  <a:latin typeface="+mj-lt"/>
                </a:rPr>
                <a:t>1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181867AF-006F-73C7-4EE1-03503268A4A4}"/>
                </a:ext>
              </a:extLst>
            </p:cNvPr>
            <p:cNvSpPr txBox="1">
              <a:spLocks/>
            </p:cNvSpPr>
            <p:nvPr/>
          </p:nvSpPr>
          <p:spPr>
            <a:xfrm>
              <a:off x="1445610" y="9540743"/>
              <a:ext cx="4622700" cy="147732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 defTabSz="1828619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Tx/>
                <a:buNone/>
                <a:defRPr sz="3200" b="0" i="0">
                  <a:latin typeface="YS Text Regular" pitchFamily="2" charset="0"/>
                  <a:cs typeface="YS Text Regular" pitchFamily="2" charset="0"/>
                </a:defRPr>
              </a:lvl1pPr>
              <a:lvl2pPr marL="36" marR="0" lvl="1" indent="0" defTabSz="1907905" fontAlgn="auto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bg2"/>
                </a:buClr>
                <a:buSzPct val="120000"/>
                <a:buFont typeface="Arial Unicode MS" panose="020B0604020202020204" pitchFamily="34" charset="-128"/>
                <a:buNone/>
                <a:tabLst/>
                <a:defRPr sz="3200" b="0" i="0" baseline="0">
                  <a:latin typeface="YS Text Regular" pitchFamily="2" charset="0"/>
                  <a:cs typeface="YS Text Regular" pitchFamily="2" charset="0"/>
                </a:defRPr>
              </a:lvl2pPr>
              <a:lvl3pPr marL="461237" marR="0" lvl="2" indent="-457200" defTabSz="1828619" fontAlgn="auto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sz="3200" b="0" i="0">
                  <a:latin typeface="YS Text Regular" pitchFamily="2" charset="0"/>
                  <a:cs typeface="YS Text Regular" pitchFamily="2" charset="0"/>
                </a:defRPr>
              </a:lvl3pPr>
              <a:lvl4pPr marL="1080000" lvl="3" indent="-457200" defTabSz="1828619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Font typeface="System Font Regular"/>
                <a:buChar char="−"/>
                <a:tabLst/>
                <a:defRPr sz="3200" b="0" i="0">
                  <a:latin typeface="YS Text Regular" pitchFamily="2" charset="0"/>
                  <a:cs typeface="YS Text Regular" pitchFamily="2" charset="0"/>
                </a:defRPr>
              </a:lvl4pPr>
              <a:lvl5pPr marL="0" lvl="4" indent="0" defTabSz="1828619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Tx/>
                <a:buNone/>
                <a:defRPr sz="3200" b="0" i="0" baseline="0">
                  <a:latin typeface="YS Text Regular" pitchFamily="2" charset="0"/>
                  <a:cs typeface="YS Text Regular" pitchFamily="2" charset="0"/>
                </a:defRPr>
              </a:lvl5pPr>
              <a:lvl6pPr marL="5028699" indent="-457155" defTabSz="1828619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</a:lvl6pPr>
              <a:lvl7pPr marL="5943007" indent="-457155" defTabSz="1828619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</a:lvl7pPr>
              <a:lvl8pPr marL="6857315" indent="-457155" defTabSz="1828619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</a:lvl8pPr>
              <a:lvl9pPr marL="7771623" indent="-457155" defTabSz="1828619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ru-RU" dirty="0">
                  <a:solidFill>
                    <a:schemeClr val="bg1"/>
                  </a:solidFill>
                  <a:latin typeface="+mj-lt"/>
                </a:rPr>
                <a:t>высокий уровень сервиса стал привычкой </a:t>
              </a:r>
              <a:br>
                <a:rPr lang="ru-RU" dirty="0">
                  <a:solidFill>
                    <a:schemeClr val="bg1"/>
                  </a:solidFill>
                  <a:latin typeface="+mj-lt"/>
                </a:rPr>
              </a:br>
              <a:r>
                <a:rPr lang="ru-RU" dirty="0">
                  <a:solidFill>
                    <a:schemeClr val="bg1"/>
                  </a:solidFill>
                  <a:latin typeface="+mj-lt"/>
                </a:rPr>
                <a:t>и зоной комфорта</a:t>
              </a:r>
              <a:endParaRPr lang="en-GB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B3C99A6-BCF7-242A-5A16-6933E20284CC}"/>
              </a:ext>
            </a:extLst>
          </p:cNvPr>
          <p:cNvGrpSpPr/>
          <p:nvPr/>
        </p:nvGrpSpPr>
        <p:grpSpPr>
          <a:xfrm>
            <a:off x="11143186" y="8998733"/>
            <a:ext cx="5941260" cy="2541865"/>
            <a:chOff x="10793722" y="10258508"/>
            <a:chExt cx="5941260" cy="2541865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3CABF6FF-1A72-9059-F655-7F2A4EDE0F5E}"/>
                </a:ext>
              </a:extLst>
            </p:cNvPr>
            <p:cNvSpPr/>
            <p:nvPr/>
          </p:nvSpPr>
          <p:spPr>
            <a:xfrm>
              <a:off x="10793722" y="10258508"/>
              <a:ext cx="829118" cy="829118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3200" dirty="0">
                  <a:solidFill>
                    <a:schemeClr val="tx1"/>
                  </a:solidFill>
                  <a:latin typeface="+mj-lt"/>
                </a:rPr>
                <a:t>2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056DB8A6-D384-83C1-308F-B5A139FB192E}"/>
                </a:ext>
              </a:extLst>
            </p:cNvPr>
            <p:cNvSpPr txBox="1">
              <a:spLocks/>
            </p:cNvSpPr>
            <p:nvPr/>
          </p:nvSpPr>
          <p:spPr>
            <a:xfrm>
              <a:off x="10793722" y="11323045"/>
              <a:ext cx="5941260" cy="147732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 defTabSz="1828619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Tx/>
                <a:buNone/>
                <a:defRPr sz="3200" b="0" i="0">
                  <a:latin typeface="YS Text Regular" pitchFamily="2" charset="0"/>
                  <a:cs typeface="YS Text Regular" pitchFamily="2" charset="0"/>
                </a:defRPr>
              </a:lvl1pPr>
              <a:lvl2pPr marL="36" marR="0" lvl="1" indent="0" defTabSz="1907905" fontAlgn="auto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bg2"/>
                </a:buClr>
                <a:buSzPct val="120000"/>
                <a:buFont typeface="Arial Unicode MS" panose="020B0604020202020204" pitchFamily="34" charset="-128"/>
                <a:buNone/>
                <a:tabLst/>
                <a:defRPr sz="3200" b="0" i="0" baseline="0">
                  <a:latin typeface="YS Text Regular" pitchFamily="2" charset="0"/>
                  <a:cs typeface="YS Text Regular" pitchFamily="2" charset="0"/>
                </a:defRPr>
              </a:lvl2pPr>
              <a:lvl3pPr marL="461237" marR="0" lvl="2" indent="-457200" defTabSz="1828619" fontAlgn="auto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sz="3200" b="0" i="0">
                  <a:latin typeface="YS Text Regular" pitchFamily="2" charset="0"/>
                  <a:cs typeface="YS Text Regular" pitchFamily="2" charset="0"/>
                </a:defRPr>
              </a:lvl3pPr>
              <a:lvl4pPr marL="1080000" lvl="3" indent="-457200" defTabSz="1828619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Font typeface="System Font Regular"/>
                <a:buChar char="−"/>
                <a:tabLst/>
                <a:defRPr sz="3200" b="0" i="0">
                  <a:latin typeface="YS Text Regular" pitchFamily="2" charset="0"/>
                  <a:cs typeface="YS Text Regular" pitchFamily="2" charset="0"/>
                </a:defRPr>
              </a:lvl4pPr>
              <a:lvl5pPr marL="0" lvl="4" indent="0" defTabSz="1828619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Tx/>
                <a:buNone/>
                <a:defRPr sz="3200" b="0" i="0" baseline="0">
                  <a:latin typeface="YS Text Regular" pitchFamily="2" charset="0"/>
                  <a:cs typeface="YS Text Regular" pitchFamily="2" charset="0"/>
                </a:defRPr>
              </a:lvl5pPr>
              <a:lvl6pPr marL="5028699" indent="-457155" defTabSz="1828619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</a:lvl6pPr>
              <a:lvl7pPr marL="5943007" indent="-457155" defTabSz="1828619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</a:lvl7pPr>
              <a:lvl8pPr marL="6857315" indent="-457155" defTabSz="1828619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</a:lvl8pPr>
              <a:lvl9pPr marL="7771623" indent="-457155" defTabSz="1828619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ru-RU" dirty="0">
                  <a:solidFill>
                    <a:schemeClr val="bg1"/>
                  </a:solidFill>
                  <a:latin typeface="+mj-lt"/>
                </a:rPr>
                <a:t>рациональные факторы выбора стали превалировать над эмоциональными</a:t>
              </a:r>
              <a:endParaRPr lang="en-GB" dirty="0">
                <a:solidFill>
                  <a:schemeClr val="bg1"/>
                </a:solidFill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645351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25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1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" dur="12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1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3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42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42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30" grpId="0" animBg="1"/>
      <p:bldP spid="3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3EDAB40-79FE-C102-98DA-5114ED39E1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2785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EDAB40-79FE-C102-98DA-5114ED39E1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A0BA832C-B92C-0A12-CA55-C2E0D52131F4}"/>
              </a:ext>
            </a:extLst>
          </p:cNvPr>
          <p:cNvSpPr/>
          <p:nvPr/>
        </p:nvSpPr>
        <p:spPr>
          <a:xfrm>
            <a:off x="22998184" y="12630150"/>
            <a:ext cx="1340547" cy="824073"/>
          </a:xfrm>
          <a:prstGeom prst="rect">
            <a:avLst/>
          </a:prstGeom>
          <a:solidFill>
            <a:srgbClr val="292B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l"/>
            <a:endParaRPr lang="en-GB" sz="3200" dirty="0" err="1">
              <a:solidFill>
                <a:schemeClr val="tx1"/>
              </a:solidFill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8918BEC-B06E-B30E-C417-98CBC578EB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2175" y="1681842"/>
            <a:ext cx="22598063" cy="1781898"/>
          </a:xfrm>
        </p:spPr>
        <p:txBody>
          <a:bodyPr vert="horz"/>
          <a:lstStyle/>
          <a:p>
            <a:r>
              <a:rPr lang="ru-RU" sz="7200" dirty="0"/>
              <a:t>высокий уровень сервиса стал</a:t>
            </a:r>
            <a:br>
              <a:rPr lang="ru-RU" sz="7200" dirty="0"/>
            </a:br>
            <a:r>
              <a:rPr lang="ru-RU" sz="7200" dirty="0">
                <a:solidFill>
                  <a:schemeClr val="accent1"/>
                </a:solidFill>
              </a:rPr>
              <a:t>привычкой и зоной комфорта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C204F7F-53DB-B4F2-D928-79F8C84EECFE}"/>
              </a:ext>
            </a:extLst>
          </p:cNvPr>
          <p:cNvSpPr txBox="1"/>
          <p:nvPr/>
        </p:nvSpPr>
        <p:spPr>
          <a:xfrm>
            <a:off x="13523341" y="4455979"/>
            <a:ext cx="9013394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3600" dirty="0">
                <a:solidFill>
                  <a:schemeClr val="bg1"/>
                </a:solidFill>
                <a:latin typeface="+mj-lt"/>
              </a:rPr>
              <a:t>быстрая доставка превратилась </a:t>
            </a:r>
            <a:br>
              <a:rPr lang="ru-RU" sz="3600" dirty="0">
                <a:solidFill>
                  <a:schemeClr val="bg1"/>
                </a:solidFill>
                <a:latin typeface="+mj-lt"/>
              </a:rPr>
            </a:br>
            <a:r>
              <a:rPr lang="ru-RU" sz="3600" dirty="0">
                <a:solidFill>
                  <a:schemeClr val="bg1"/>
                </a:solidFill>
                <a:latin typeface="+mj-lt"/>
              </a:rPr>
              <a:t>из премиум-ниши в базовый стандарт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6B531ED-F90A-A085-B71B-48FE9F11A407}"/>
              </a:ext>
            </a:extLst>
          </p:cNvPr>
          <p:cNvSpPr txBox="1"/>
          <p:nvPr/>
        </p:nvSpPr>
        <p:spPr>
          <a:xfrm>
            <a:off x="13523341" y="5879409"/>
            <a:ext cx="6825687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2700" dirty="0">
                <a:solidFill>
                  <a:schemeClr val="bg1">
                    <a:alpha val="42000"/>
                  </a:schemeClr>
                </a:solidFill>
              </a:rPr>
              <a:t>доля рынка быстрой доставки от общего объема онлайн-продаж</a:t>
            </a:r>
            <a:endParaRPr lang="en-GB" sz="2700" dirty="0">
              <a:solidFill>
                <a:schemeClr val="bg1">
                  <a:alpha val="42000"/>
                </a:schemeClr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5EDA74D-3E0E-97CD-2E85-C3FB179532F9}"/>
              </a:ext>
            </a:extLst>
          </p:cNvPr>
          <p:cNvSpPr txBox="1"/>
          <p:nvPr/>
        </p:nvSpPr>
        <p:spPr>
          <a:xfrm>
            <a:off x="17964309" y="7812352"/>
            <a:ext cx="1745671" cy="547201"/>
          </a:xfrm>
          <a:prstGeom prst="rect">
            <a:avLst/>
          </a:prstGeom>
          <a:noFill/>
        </p:spPr>
        <p:txBody>
          <a:bodyPr wrap="none" lIns="0" tIns="0" rIns="0" bIns="0" anchor="b">
            <a:spAutoFit/>
          </a:bodyPr>
          <a:lstStyle/>
          <a:p>
            <a:pPr marL="0" marR="0" lvl="0" indent="0" algn="l" defTabSz="1828595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4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alpha val="52000"/>
                  </a:schemeClr>
                </a:solidFill>
                <a:effectLst/>
                <a:uLnTx/>
                <a:uFillTx/>
                <a:ea typeface="+mn-ea"/>
                <a:cs typeface="YS Display Cond" pitchFamily="2" charset="0"/>
              </a:rPr>
              <a:t>2025 г.</a:t>
            </a:r>
          </a:p>
        </p:txBody>
      </p:sp>
      <p:sp>
        <p:nvSpPr>
          <p:cNvPr id="23" name="Text Placeholder 29">
            <a:extLst>
              <a:ext uri="{FF2B5EF4-FFF2-40B4-BE49-F238E27FC236}">
                <a16:creationId xmlns:a16="http://schemas.microsoft.com/office/drawing/2014/main" id="{C30BE0D9-04BD-C11B-6D7E-A58C8DB9B265}"/>
              </a:ext>
            </a:extLst>
          </p:cNvPr>
          <p:cNvSpPr txBox="1">
            <a:spLocks/>
          </p:cNvSpPr>
          <p:nvPr/>
        </p:nvSpPr>
        <p:spPr>
          <a:xfrm>
            <a:off x="17964310" y="10187147"/>
            <a:ext cx="5342942" cy="27361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1pPr>
            <a:lvl2pPr marL="36" marR="0" indent="0" algn="l" defTabSz="1907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lang="en-GB" sz="3200" b="0" i="0" kern="1200" baseline="0">
                <a:solidFill>
                  <a:schemeClr val="tx1"/>
                </a:solidFill>
                <a:latin typeface="Yango Text Medium" panose="020B0504020202020204" pitchFamily="34" charset="-79"/>
                <a:ea typeface="Yango Text Medium" panose="020B0504020202020204" pitchFamily="34" charset="-79"/>
                <a:cs typeface="Yango Text Medium" panose="020B0504020202020204" pitchFamily="34" charset="-79"/>
              </a:defRPr>
            </a:lvl2pPr>
            <a:lvl3pPr marL="360000" marR="0" indent="-360000" algn="l" defTabSz="18286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tabLst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3pPr>
            <a:lvl4pPr marL="720000" indent="-36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System Font Regular"/>
              <a:buChar char="−"/>
              <a:tabLst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Tx/>
              <a:buNone/>
              <a:defRPr sz="2400" b="0" i="0" kern="1200" baseline="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" marR="0" lvl="1" indent="0" algn="l" defTabSz="1907905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Clr>
                <a:srgbClr val="FFFFFF"/>
              </a:buClr>
              <a:buSzPct val="120000"/>
              <a:buFont typeface="Arial Unicode MS" panose="020B0604020202020204" pitchFamily="34" charset="-128"/>
              <a:buNone/>
              <a:tabLst/>
              <a:defRPr/>
            </a:pPr>
            <a:r>
              <a:rPr lang="ru-RU" sz="22000" dirty="0">
                <a:solidFill>
                  <a:schemeClr val="accent1"/>
                </a:solidFill>
                <a:latin typeface="YS Geo Medium"/>
                <a:cs typeface="YS Text Bold" pitchFamily="2" charset="77"/>
              </a:rPr>
              <a:t>71%</a:t>
            </a:r>
            <a:endParaRPr kumimoji="0" lang="ru-RU" sz="220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YS Geo Medium"/>
              <a:ea typeface="Yango Text" panose="020B0504020202020204" pitchFamily="34" charset="-79"/>
              <a:cs typeface="YS Text Bold" pitchFamily="2" charset="77"/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71F3326A-77DB-859F-F812-57A1282EA514}"/>
              </a:ext>
            </a:extLst>
          </p:cNvPr>
          <p:cNvSpPr/>
          <p:nvPr/>
        </p:nvSpPr>
        <p:spPr>
          <a:xfrm rot="10800000">
            <a:off x="16589130" y="7650163"/>
            <a:ext cx="7812003" cy="6065836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accent1"/>
              </a:gs>
              <a:gs pos="41000">
                <a:srgbClr val="373A43">
                  <a:alpha val="0"/>
                </a:srgbClr>
              </a:gs>
            </a:gsLst>
            <a:lin ang="4800000" scaled="0"/>
          </a:gradFill>
          <a:ln w="38100">
            <a:noFill/>
          </a:ln>
          <a:effectLst>
            <a:outerShdw blurRad="635000" dist="584200" dir="8100000" algn="tr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800" dirty="0" err="1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65310B1-3D5B-D2E8-13DF-7F7C92735AA6}"/>
              </a:ext>
            </a:extLst>
          </p:cNvPr>
          <p:cNvSpPr txBox="1"/>
          <p:nvPr/>
        </p:nvSpPr>
        <p:spPr>
          <a:xfrm>
            <a:off x="13049545" y="10176338"/>
            <a:ext cx="1160574" cy="348237"/>
          </a:xfrm>
          <a:prstGeom prst="rect">
            <a:avLst/>
          </a:prstGeom>
          <a:noFill/>
        </p:spPr>
        <p:txBody>
          <a:bodyPr wrap="none" lIns="0" tIns="0" rIns="0" bIns="0" anchor="b">
            <a:spAutoFit/>
          </a:bodyPr>
          <a:lstStyle/>
          <a:p>
            <a:pPr marL="0" marR="0" lvl="0" indent="0" algn="l" defTabSz="1828595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ea typeface="+mn-ea"/>
                <a:cs typeface="YS Display Cond" pitchFamily="2" charset="0"/>
              </a:rPr>
              <a:t>2020 г.</a:t>
            </a:r>
          </a:p>
        </p:txBody>
      </p:sp>
      <p:sp>
        <p:nvSpPr>
          <p:cNvPr id="29" name="Text Placeholder 29">
            <a:extLst>
              <a:ext uri="{FF2B5EF4-FFF2-40B4-BE49-F238E27FC236}">
                <a16:creationId xmlns:a16="http://schemas.microsoft.com/office/drawing/2014/main" id="{B412A0B5-7853-48C0-32CA-D2DFC3DC3FC4}"/>
              </a:ext>
            </a:extLst>
          </p:cNvPr>
          <p:cNvSpPr txBox="1">
            <a:spLocks/>
          </p:cNvSpPr>
          <p:nvPr/>
        </p:nvSpPr>
        <p:spPr>
          <a:xfrm>
            <a:off x="13049545" y="11423141"/>
            <a:ext cx="4383592" cy="109446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1pPr>
            <a:lvl2pPr marL="36" marR="0" indent="0" algn="l" defTabSz="1907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lang="en-GB" sz="3200" b="0" i="0" kern="1200" baseline="0">
                <a:solidFill>
                  <a:schemeClr val="tx1"/>
                </a:solidFill>
                <a:latin typeface="Yango Text Medium" panose="020B0504020202020204" pitchFamily="34" charset="-79"/>
                <a:ea typeface="Yango Text Medium" panose="020B0504020202020204" pitchFamily="34" charset="-79"/>
                <a:cs typeface="Yango Text Medium" panose="020B0504020202020204" pitchFamily="34" charset="-79"/>
              </a:defRPr>
            </a:lvl2pPr>
            <a:lvl3pPr marL="360000" marR="0" indent="-360000" algn="l" defTabSz="18286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tabLst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3pPr>
            <a:lvl4pPr marL="720000" indent="-36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System Font Regular"/>
              <a:buChar char="−"/>
              <a:tabLst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Tx/>
              <a:buNone/>
              <a:defRPr sz="2400" b="0" i="0" kern="1200" baseline="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" marR="0" lvl="1" indent="0" algn="l" defTabSz="1907905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Clr>
                <a:srgbClr val="FFFFFF"/>
              </a:buClr>
              <a:buSzPct val="120000"/>
              <a:buFont typeface="Arial Unicode MS" panose="020B0604020202020204" pitchFamily="34" charset="-128"/>
              <a:buNone/>
              <a:tabLst/>
              <a:defRPr/>
            </a:pPr>
            <a:r>
              <a:rPr lang="ru-RU" sz="8800" dirty="0">
                <a:gradFill>
                  <a:gsLst>
                    <a:gs pos="100000">
                      <a:srgbClr val="7E8597"/>
                    </a:gs>
                    <a:gs pos="0">
                      <a:srgbClr val="FFFFFF">
                        <a:alpha val="7000"/>
                      </a:srgbClr>
                    </a:gs>
                  </a:gsLst>
                  <a:lin ang="10800000" scaled="1"/>
                </a:gradFill>
                <a:latin typeface="YS Geo Medium"/>
                <a:cs typeface="YS Text Bold" pitchFamily="2" charset="77"/>
              </a:rPr>
              <a:t>12%</a:t>
            </a:r>
            <a:endParaRPr kumimoji="0" lang="ru-RU" sz="8800" b="0" i="0" u="none" strike="noStrike" kern="1200" cap="none" spc="0" normalizeH="0" baseline="0" noProof="0" dirty="0">
              <a:ln>
                <a:noFill/>
              </a:ln>
              <a:gradFill>
                <a:gsLst>
                  <a:gs pos="100000">
                    <a:srgbClr val="7E8597"/>
                  </a:gs>
                  <a:gs pos="0">
                    <a:srgbClr val="FFFFFF">
                      <a:alpha val="7000"/>
                    </a:srgbClr>
                  </a:gs>
                </a:gsLst>
                <a:lin ang="10800000" scaled="1"/>
              </a:gradFill>
              <a:effectLst/>
              <a:uLnTx/>
              <a:uFillTx/>
              <a:latin typeface="YS Geo Medium"/>
              <a:ea typeface="Yango Text" panose="020B0504020202020204" pitchFamily="34" charset="-79"/>
              <a:cs typeface="YS Text Bold" pitchFamily="2" charset="77"/>
            </a:endParaRPr>
          </a:p>
        </p:txBody>
      </p:sp>
      <p:sp>
        <p:nvSpPr>
          <p:cNvPr id="30" name="Arc 29">
            <a:extLst>
              <a:ext uri="{FF2B5EF4-FFF2-40B4-BE49-F238E27FC236}">
                <a16:creationId xmlns:a16="http://schemas.microsoft.com/office/drawing/2014/main" id="{96555F82-2573-A459-9D53-BDD26709CCA3}"/>
              </a:ext>
            </a:extLst>
          </p:cNvPr>
          <p:cNvSpPr/>
          <p:nvPr/>
        </p:nvSpPr>
        <p:spPr>
          <a:xfrm rot="15604462" flipH="1" flipV="1">
            <a:off x="14130198" y="7554742"/>
            <a:ext cx="4749818" cy="4749814"/>
          </a:xfrm>
          <a:prstGeom prst="arc">
            <a:avLst>
              <a:gd name="adj1" fmla="val 5702785"/>
              <a:gd name="adj2" fmla="val 12847483"/>
            </a:avLst>
          </a:prstGeom>
          <a:ln w="47625" cap="sq" cmpd="sng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16200000" scaled="1"/>
              <a:tileRect/>
            </a:gradFill>
            <a:prstDash val="solid"/>
            <a:bevel/>
            <a:headEnd type="none" w="med" len="med"/>
            <a:tailEnd type="triangl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Text Placeholder 29">
            <a:extLst>
              <a:ext uri="{FF2B5EF4-FFF2-40B4-BE49-F238E27FC236}">
                <a16:creationId xmlns:a16="http://schemas.microsoft.com/office/drawing/2014/main" id="{CA0B7E37-0761-198D-0A7D-A784C061A5DE}"/>
              </a:ext>
            </a:extLst>
          </p:cNvPr>
          <p:cNvSpPr txBox="1">
            <a:spLocks/>
          </p:cNvSpPr>
          <p:nvPr/>
        </p:nvSpPr>
        <p:spPr>
          <a:xfrm>
            <a:off x="782174" y="5210693"/>
            <a:ext cx="9248192" cy="27361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1pPr>
            <a:lvl2pPr marL="36" marR="0" indent="0" algn="l" defTabSz="1907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lang="en-GB" sz="3200" b="0" i="0" kern="1200" baseline="0">
                <a:solidFill>
                  <a:schemeClr val="tx1"/>
                </a:solidFill>
                <a:latin typeface="Yango Text Medium" panose="020B0504020202020204" pitchFamily="34" charset="-79"/>
                <a:ea typeface="Yango Text Medium" panose="020B0504020202020204" pitchFamily="34" charset="-79"/>
                <a:cs typeface="Yango Text Medium" panose="020B0504020202020204" pitchFamily="34" charset="-79"/>
              </a:defRPr>
            </a:lvl2pPr>
            <a:lvl3pPr marL="360000" marR="0" indent="-360000" algn="l" defTabSz="18286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tabLst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3pPr>
            <a:lvl4pPr marL="720000" indent="-36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System Font Regular"/>
              <a:buChar char="−"/>
              <a:tabLst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Tx/>
              <a:buNone/>
              <a:defRPr sz="2400" b="0" i="0" kern="1200" baseline="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" marR="0" lvl="1" indent="0" algn="l" defTabSz="1907905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Clr>
                <a:srgbClr val="FFFFFF"/>
              </a:buClr>
              <a:buSzPct val="120000"/>
              <a:buFont typeface="Arial Unicode MS" panose="020B0604020202020204" pitchFamily="34" charset="-128"/>
              <a:buNone/>
              <a:tabLst/>
              <a:defRPr/>
            </a:pPr>
            <a:r>
              <a:rPr lang="ru-RU" sz="22000" dirty="0">
                <a:gradFill>
                  <a:gsLst>
                    <a:gs pos="100000">
                      <a:srgbClr val="7E8597"/>
                    </a:gs>
                    <a:gs pos="0">
                      <a:srgbClr val="FFFFFF"/>
                    </a:gs>
                  </a:gsLst>
                  <a:lin ang="10800000" scaled="1"/>
                </a:gradFill>
                <a:latin typeface="YS Geo Medium"/>
                <a:cs typeface="YS Text Bold" pitchFamily="2" charset="77"/>
              </a:rPr>
              <a:t>&lt; 20%</a:t>
            </a:r>
            <a:endParaRPr kumimoji="0" lang="ru-RU" sz="22000" b="0" i="0" u="none" strike="noStrike" kern="1200" cap="none" spc="0" normalizeH="0" baseline="0" noProof="0" dirty="0">
              <a:ln>
                <a:noFill/>
              </a:ln>
              <a:gradFill>
                <a:gsLst>
                  <a:gs pos="100000">
                    <a:srgbClr val="7E8597"/>
                  </a:gs>
                  <a:gs pos="0">
                    <a:srgbClr val="FFFFFF"/>
                  </a:gs>
                </a:gsLst>
                <a:lin ang="10800000" scaled="1"/>
              </a:gradFill>
              <a:effectLst/>
              <a:uLnTx/>
              <a:uFillTx/>
              <a:latin typeface="YS Geo Medium"/>
              <a:ea typeface="Yango Text" panose="020B0504020202020204" pitchFamily="34" charset="-79"/>
              <a:cs typeface="YS Text Bold" pitchFamily="2" charset="77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BC2E4EA-08C3-8735-31BC-103592F86C8B}"/>
              </a:ext>
            </a:extLst>
          </p:cNvPr>
          <p:cNvSpPr txBox="1"/>
          <p:nvPr/>
        </p:nvSpPr>
        <p:spPr>
          <a:xfrm>
            <a:off x="1016972" y="7689496"/>
            <a:ext cx="9013394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3600" dirty="0">
                <a:solidFill>
                  <a:schemeClr val="bg1"/>
                </a:solidFill>
                <a:latin typeface="+mj-lt"/>
              </a:rPr>
              <a:t>пользователей готовы прощать </a:t>
            </a:r>
            <a:br>
              <a:rPr lang="ru-RU" sz="3600" dirty="0">
                <a:solidFill>
                  <a:schemeClr val="bg1"/>
                </a:solidFill>
                <a:latin typeface="+mj-lt"/>
              </a:rPr>
            </a:br>
            <a:r>
              <a:rPr lang="ru-RU" sz="3600" dirty="0">
                <a:solidFill>
                  <a:schemeClr val="bg1"/>
                </a:solidFill>
                <a:latin typeface="+mj-lt"/>
              </a:rPr>
              <a:t>бизнесу некомфортные условия</a:t>
            </a:r>
          </a:p>
        </p:txBody>
      </p:sp>
      <p:sp>
        <p:nvSpPr>
          <p:cNvPr id="35" name="Скругленный прямоугольник 10">
            <a:extLst>
              <a:ext uri="{FF2B5EF4-FFF2-40B4-BE49-F238E27FC236}">
                <a16:creationId xmlns:a16="http://schemas.microsoft.com/office/drawing/2014/main" id="{BA2570B1-B138-3D71-BFAB-CDF4AC605B20}"/>
              </a:ext>
            </a:extLst>
          </p:cNvPr>
          <p:cNvSpPr/>
          <p:nvPr/>
        </p:nvSpPr>
        <p:spPr>
          <a:xfrm>
            <a:off x="7926159" y="4613090"/>
            <a:ext cx="3324563" cy="1240909"/>
          </a:xfrm>
          <a:prstGeom prst="roundRect">
            <a:avLst>
              <a:gd name="adj" fmla="val 30995"/>
            </a:avLst>
          </a:prstGeom>
          <a:solidFill>
            <a:schemeClr val="tx2">
              <a:alpha val="74777"/>
            </a:schemeClr>
          </a:solidFill>
          <a:ln>
            <a:gradFill flip="none" rotWithShape="1">
              <a:gsLst>
                <a:gs pos="0">
                  <a:schemeClr val="bg2">
                    <a:alpha val="50000"/>
                  </a:schemeClr>
                </a:gs>
                <a:gs pos="100000">
                  <a:schemeClr val="bg1">
                    <a:alpha val="10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216000" rtlCol="0" anchor="ctr"/>
          <a:lstStyle/>
          <a:p>
            <a:pPr>
              <a:lnSpc>
                <a:spcPct val="90000"/>
              </a:lnSpc>
            </a:pPr>
            <a:r>
              <a:rPr lang="ru-RU" sz="2800" dirty="0">
                <a:sym typeface="Georgia"/>
              </a:rPr>
              <a:t>в том числе регионы</a:t>
            </a:r>
          </a:p>
        </p:txBody>
      </p:sp>
      <p:sp>
        <p:nvSpPr>
          <p:cNvPr id="36" name="Овал 20">
            <a:extLst>
              <a:ext uri="{FF2B5EF4-FFF2-40B4-BE49-F238E27FC236}">
                <a16:creationId xmlns:a16="http://schemas.microsoft.com/office/drawing/2014/main" id="{26557956-73C3-EA4D-C1E3-BADBE81CF42E}"/>
              </a:ext>
            </a:extLst>
          </p:cNvPr>
          <p:cNvSpPr/>
          <p:nvPr/>
        </p:nvSpPr>
        <p:spPr>
          <a:xfrm>
            <a:off x="7848450" y="5125968"/>
            <a:ext cx="215153" cy="21515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l"/>
            <a:endParaRPr lang="ru-RU" sz="3200" dirty="0" err="1">
              <a:solidFill>
                <a:schemeClr val="tx1"/>
              </a:solidFill>
            </a:endParaRPr>
          </a:p>
        </p:txBody>
      </p:sp>
      <p:sp>
        <p:nvSpPr>
          <p:cNvPr id="37" name="Скругленный прямоугольник 26">
            <a:extLst>
              <a:ext uri="{FF2B5EF4-FFF2-40B4-BE49-F238E27FC236}">
                <a16:creationId xmlns:a16="http://schemas.microsoft.com/office/drawing/2014/main" id="{C302BD83-151A-6F75-0B24-17442C745F65}"/>
              </a:ext>
            </a:extLst>
          </p:cNvPr>
          <p:cNvSpPr/>
          <p:nvPr/>
        </p:nvSpPr>
        <p:spPr>
          <a:xfrm>
            <a:off x="1016973" y="9679185"/>
            <a:ext cx="4730684" cy="725243"/>
          </a:xfrm>
          <a:prstGeom prst="roundRect">
            <a:avLst>
              <a:gd name="adj" fmla="val 50000"/>
            </a:avLst>
          </a:prstGeom>
          <a:solidFill>
            <a:schemeClr val="accent4">
              <a:alpha val="15177"/>
            </a:schemeClr>
          </a:solidFill>
          <a:ln>
            <a:gradFill flip="none" rotWithShape="1">
              <a:gsLst>
                <a:gs pos="0">
                  <a:schemeClr val="bg2">
                    <a:alpha val="50000"/>
                  </a:schemeClr>
                </a:gs>
                <a:gs pos="100000">
                  <a:schemeClr val="bg1">
                    <a:alpha val="10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700" dirty="0">
                <a:solidFill>
                  <a:schemeClr val="lt1">
                    <a:alpha val="74000"/>
                  </a:schemeClr>
                </a:solidFill>
              </a:rPr>
              <a:t> платную доставку — 20%</a:t>
            </a:r>
            <a:endParaRPr lang="en-US" sz="2700" dirty="0">
              <a:solidFill>
                <a:schemeClr val="lt1">
                  <a:alpha val="74000"/>
                </a:schemeClr>
              </a:solidFill>
            </a:endParaRPr>
          </a:p>
        </p:txBody>
      </p:sp>
      <p:sp>
        <p:nvSpPr>
          <p:cNvPr id="38" name="Скругленный прямоугольник 26">
            <a:extLst>
              <a:ext uri="{FF2B5EF4-FFF2-40B4-BE49-F238E27FC236}">
                <a16:creationId xmlns:a16="http://schemas.microsoft.com/office/drawing/2014/main" id="{6D11E73D-BAA9-0977-9E00-1DFC4E9A3508}"/>
              </a:ext>
            </a:extLst>
          </p:cNvPr>
          <p:cNvSpPr/>
          <p:nvPr/>
        </p:nvSpPr>
        <p:spPr>
          <a:xfrm>
            <a:off x="1016972" y="10543498"/>
            <a:ext cx="3569542" cy="725243"/>
          </a:xfrm>
          <a:prstGeom prst="roundRect">
            <a:avLst>
              <a:gd name="adj" fmla="val 50000"/>
            </a:avLst>
          </a:prstGeom>
          <a:solidFill>
            <a:schemeClr val="accent4">
              <a:alpha val="15177"/>
            </a:schemeClr>
          </a:solidFill>
          <a:ln>
            <a:gradFill flip="none" rotWithShape="1">
              <a:gsLst>
                <a:gs pos="0">
                  <a:schemeClr val="bg2">
                    <a:alpha val="50000"/>
                  </a:schemeClr>
                </a:gs>
                <a:gs pos="100000">
                  <a:schemeClr val="bg1">
                    <a:alpha val="10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700" dirty="0">
                <a:solidFill>
                  <a:schemeClr val="lt1">
                    <a:alpha val="74000"/>
                  </a:schemeClr>
                </a:solidFill>
              </a:rPr>
              <a:t>высокий чек — 14%</a:t>
            </a:r>
            <a:endParaRPr lang="en-US" sz="2700" dirty="0">
              <a:solidFill>
                <a:schemeClr val="lt1">
                  <a:alpha val="74000"/>
                </a:schemeClr>
              </a:solidFill>
            </a:endParaRPr>
          </a:p>
        </p:txBody>
      </p:sp>
      <p:sp>
        <p:nvSpPr>
          <p:cNvPr id="39" name="Скругленный прямоугольник 26">
            <a:extLst>
              <a:ext uri="{FF2B5EF4-FFF2-40B4-BE49-F238E27FC236}">
                <a16:creationId xmlns:a16="http://schemas.microsoft.com/office/drawing/2014/main" id="{700FC9DF-29C1-0C7E-854B-0CBA3BE3E6EC}"/>
              </a:ext>
            </a:extLst>
          </p:cNvPr>
          <p:cNvSpPr/>
          <p:nvPr/>
        </p:nvSpPr>
        <p:spPr>
          <a:xfrm>
            <a:off x="6056196" y="9679185"/>
            <a:ext cx="4530225" cy="725243"/>
          </a:xfrm>
          <a:prstGeom prst="roundRect">
            <a:avLst>
              <a:gd name="adj" fmla="val 50000"/>
            </a:avLst>
          </a:prstGeom>
          <a:solidFill>
            <a:schemeClr val="accent4">
              <a:alpha val="15177"/>
            </a:schemeClr>
          </a:solidFill>
          <a:ln>
            <a:gradFill flip="none" rotWithShape="1">
              <a:gsLst>
                <a:gs pos="0">
                  <a:schemeClr val="bg2">
                    <a:alpha val="50000"/>
                  </a:schemeClr>
                </a:gs>
                <a:gs pos="100000">
                  <a:schemeClr val="bg1">
                    <a:alpha val="10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700" dirty="0">
                <a:solidFill>
                  <a:schemeClr val="lt1">
                    <a:alpha val="74000"/>
                  </a:schemeClr>
                </a:solidFill>
              </a:rPr>
              <a:t>неудобные слоты — 12%</a:t>
            </a:r>
            <a:endParaRPr lang="en-US" sz="2700" dirty="0">
              <a:solidFill>
                <a:schemeClr val="lt1">
                  <a:alpha val="74000"/>
                </a:schemeClr>
              </a:solidFill>
            </a:endParaRPr>
          </a:p>
        </p:txBody>
      </p:sp>
      <p:pic>
        <p:nvPicPr>
          <p:cNvPr id="42" name="Graphic 41">
            <a:extLst>
              <a:ext uri="{FF2B5EF4-FFF2-40B4-BE49-F238E27FC236}">
                <a16:creationId xmlns:a16="http://schemas.microsoft.com/office/drawing/2014/main" id="{0DB7B54A-8020-0245-580D-B40BAED99AA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92175" y="584708"/>
            <a:ext cx="3089275" cy="450519"/>
          </a:xfrm>
          <a:prstGeom prst="rect">
            <a:avLst/>
          </a:prstGeom>
        </p:spPr>
      </p:pic>
      <p:grpSp>
        <p:nvGrpSpPr>
          <p:cNvPr id="2" name="Группа 71">
            <a:extLst>
              <a:ext uri="{FF2B5EF4-FFF2-40B4-BE49-F238E27FC236}">
                <a16:creationId xmlns:a16="http://schemas.microsoft.com/office/drawing/2014/main" id="{46310C9A-194F-207E-8A02-7CF1CC33111A}"/>
              </a:ext>
            </a:extLst>
          </p:cNvPr>
          <p:cNvGrpSpPr/>
          <p:nvPr/>
        </p:nvGrpSpPr>
        <p:grpSpPr>
          <a:xfrm rot="20155063">
            <a:off x="10200241" y="4269165"/>
            <a:ext cx="1323885" cy="1323885"/>
            <a:chOff x="9906544" y="6037477"/>
            <a:chExt cx="1227984" cy="1227984"/>
          </a:xfrm>
        </p:grpSpPr>
        <p:sp>
          <p:nvSpPr>
            <p:cNvPr id="3" name="Овал 67">
              <a:extLst>
                <a:ext uri="{FF2B5EF4-FFF2-40B4-BE49-F238E27FC236}">
                  <a16:creationId xmlns:a16="http://schemas.microsoft.com/office/drawing/2014/main" id="{D56F998F-325B-8CA1-CBF3-AD447B8B5F71}"/>
                </a:ext>
              </a:extLst>
            </p:cNvPr>
            <p:cNvSpPr/>
            <p:nvPr/>
          </p:nvSpPr>
          <p:spPr>
            <a:xfrm>
              <a:off x="9906544" y="6037477"/>
              <a:ext cx="1227984" cy="122798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l"/>
              <a:endParaRPr lang="ru-RU" sz="3200" dirty="0" err="1">
                <a:solidFill>
                  <a:schemeClr val="tx1"/>
                </a:solidFill>
              </a:endParaRPr>
            </a:p>
          </p:txBody>
        </p:sp>
        <p:pic>
          <p:nvPicPr>
            <p:cNvPr id="4" name="Image 22" descr=" ">
              <a:extLst>
                <a:ext uri="{FF2B5EF4-FFF2-40B4-BE49-F238E27FC236}">
                  <a16:creationId xmlns:a16="http://schemas.microsoft.com/office/drawing/2014/main" id="{1379B99E-4A50-5474-D4EE-8BA7971C931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0031887" y="6162888"/>
              <a:ext cx="977298" cy="977163"/>
            </a:xfrm>
            <a:prstGeom prst="rect">
              <a:avLst/>
            </a:prstGeom>
          </p:spPr>
        </p:pic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1E9CBEF-8C88-3EE1-3A91-F0F33E5233CE}"/>
              </a:ext>
            </a:extLst>
          </p:cNvPr>
          <p:cNvCxnSpPr>
            <a:cxnSpLocks/>
          </p:cNvCxnSpPr>
          <p:nvPr/>
        </p:nvCxnSpPr>
        <p:spPr>
          <a:xfrm>
            <a:off x="12104914" y="4578087"/>
            <a:ext cx="0" cy="7503885"/>
          </a:xfrm>
          <a:prstGeom prst="line">
            <a:avLst/>
          </a:prstGeom>
          <a:ln w="15875" cap="sq" cmpd="sng">
            <a:solidFill>
              <a:schemeClr val="bg1">
                <a:alpha val="10000"/>
              </a:schemeClr>
            </a:solidFill>
            <a:prstDash val="solid"/>
            <a:bevel/>
            <a:headEnd type="none" w="med" len="med"/>
            <a:tailEnd type="none" w="med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42B7FABB-A4D2-CEB1-064A-B7C6BE3E9208}"/>
              </a:ext>
            </a:extLst>
          </p:cNvPr>
          <p:cNvSpPr txBox="1"/>
          <p:nvPr/>
        </p:nvSpPr>
        <p:spPr>
          <a:xfrm>
            <a:off x="892175" y="13131292"/>
            <a:ext cx="8127471" cy="2769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1800" dirty="0">
                <a:solidFill>
                  <a:schemeClr val="bg1">
                    <a:alpha val="56000"/>
                  </a:schemeClr>
                </a:solidFill>
                <a:latin typeface="+mn-lt"/>
              </a:rPr>
              <a:t>*по данным Яндекс Еды</a:t>
            </a:r>
            <a:endParaRPr lang="en-GB" sz="1800" dirty="0">
              <a:solidFill>
                <a:schemeClr val="bg1">
                  <a:alpha val="56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644709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3EDAB40-79FE-C102-98DA-5114ED39E1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4197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EDAB40-79FE-C102-98DA-5114ED39E1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6C19DCA3-5011-648F-3EC6-F4F44980BF6A}"/>
              </a:ext>
            </a:extLst>
          </p:cNvPr>
          <p:cNvSpPr>
            <a:spLocks/>
          </p:cNvSpPr>
          <p:nvPr/>
        </p:nvSpPr>
        <p:spPr>
          <a:xfrm>
            <a:off x="3614057" y="9888763"/>
            <a:ext cx="4196557" cy="3033179"/>
          </a:xfrm>
          <a:prstGeom prst="roundRect">
            <a:avLst>
              <a:gd name="adj" fmla="val 16586"/>
            </a:avLst>
          </a:prstGeom>
          <a:solidFill>
            <a:schemeClr val="accent3">
              <a:alpha val="7000"/>
            </a:schemeClr>
          </a:solidFill>
          <a:ln>
            <a:gradFill flip="none" rotWithShape="1">
              <a:gsLst>
                <a:gs pos="0">
                  <a:schemeClr val="bg2">
                    <a:alpha val="21000"/>
                  </a:schemeClr>
                </a:gs>
                <a:gs pos="100000">
                  <a:schemeClr val="bg1">
                    <a:alpha val="10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sz="2800" dirty="0" err="1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AF0073F7-A430-3301-A420-B494B5D309A4}"/>
              </a:ext>
            </a:extLst>
          </p:cNvPr>
          <p:cNvSpPr txBox="1"/>
          <p:nvPr/>
        </p:nvSpPr>
        <p:spPr>
          <a:xfrm>
            <a:off x="4170273" y="11481656"/>
            <a:ext cx="2260315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2400" dirty="0">
                <a:solidFill>
                  <a:schemeClr val="bg1">
                    <a:alpha val="26000"/>
                  </a:schemeClr>
                </a:solidFill>
              </a:rPr>
              <a:t>«решил(а) побаловать </a:t>
            </a:r>
            <a:br>
              <a:rPr lang="en-US" sz="2400" dirty="0">
                <a:solidFill>
                  <a:schemeClr val="bg1">
                    <a:alpha val="26000"/>
                  </a:schemeClr>
                </a:solidFill>
              </a:rPr>
            </a:br>
            <a:r>
              <a:rPr lang="ru-RU" sz="2400" dirty="0">
                <a:solidFill>
                  <a:schemeClr val="bg1">
                    <a:alpha val="26000"/>
                  </a:schemeClr>
                </a:solidFill>
              </a:rPr>
              <a:t>себя»</a:t>
            </a:r>
          </a:p>
        </p:txBody>
      </p:sp>
      <p:sp>
        <p:nvSpPr>
          <p:cNvPr id="63" name="Text Placeholder 29">
            <a:extLst>
              <a:ext uri="{FF2B5EF4-FFF2-40B4-BE49-F238E27FC236}">
                <a16:creationId xmlns:a16="http://schemas.microsoft.com/office/drawing/2014/main" id="{D1C43804-0988-7DD5-E519-C092ED721134}"/>
              </a:ext>
            </a:extLst>
          </p:cNvPr>
          <p:cNvSpPr txBox="1">
            <a:spLocks/>
          </p:cNvSpPr>
          <p:nvPr/>
        </p:nvSpPr>
        <p:spPr>
          <a:xfrm>
            <a:off x="4112892" y="10557358"/>
            <a:ext cx="1750479" cy="89550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1pPr>
            <a:lvl2pPr marL="36" marR="0" indent="0" algn="l" defTabSz="1907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lang="en-GB" sz="3200" b="0" i="0" kern="1200" baseline="0">
                <a:solidFill>
                  <a:schemeClr val="tx1"/>
                </a:solidFill>
                <a:latin typeface="Yango Text Medium" panose="020B0504020202020204" pitchFamily="34" charset="-79"/>
                <a:ea typeface="Yango Text Medium" panose="020B0504020202020204" pitchFamily="34" charset="-79"/>
                <a:cs typeface="Yango Text Medium" panose="020B0504020202020204" pitchFamily="34" charset="-79"/>
              </a:defRPr>
            </a:lvl2pPr>
            <a:lvl3pPr marL="360000" marR="0" indent="-360000" algn="l" defTabSz="18286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tabLst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3pPr>
            <a:lvl4pPr marL="720000" indent="-36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System Font Regular"/>
              <a:buChar char="−"/>
              <a:tabLst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Tx/>
              <a:buNone/>
              <a:defRPr sz="2400" b="0" i="0" kern="1200" baseline="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" marR="0" lvl="1" indent="0" algn="l" defTabSz="1907905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Clr>
                <a:srgbClr val="FFFFFF"/>
              </a:buClr>
              <a:buSzPct val="120000"/>
              <a:buFont typeface="Arial Unicode MS" panose="020B0604020202020204" pitchFamily="34" charset="-128"/>
              <a:buNone/>
              <a:tabLst/>
              <a:defRPr/>
            </a:pPr>
            <a:r>
              <a:rPr lang="ru-RU" sz="7200" dirty="0">
                <a:gradFill flip="none" rotWithShape="1">
                  <a:gsLst>
                    <a:gs pos="100000">
                      <a:srgbClr val="7E8597">
                        <a:alpha val="78000"/>
                      </a:srgbClr>
                    </a:gs>
                    <a:gs pos="0">
                      <a:srgbClr val="FFFFFF">
                        <a:alpha val="72000"/>
                      </a:srgbClr>
                    </a:gs>
                  </a:gsLst>
                  <a:lin ang="0" scaled="1"/>
                  <a:tileRect/>
                </a:gradFill>
                <a:latin typeface="YS Geo Medium"/>
                <a:cs typeface="YS Text Bold" pitchFamily="2" charset="77"/>
              </a:rPr>
              <a:t>23%</a:t>
            </a:r>
            <a:endParaRPr kumimoji="0" lang="ru-RU" sz="72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100000">
                    <a:srgbClr val="7E8597">
                      <a:alpha val="78000"/>
                    </a:srgbClr>
                  </a:gs>
                  <a:gs pos="0">
                    <a:srgbClr val="FFFFFF">
                      <a:alpha val="72000"/>
                    </a:srgbClr>
                  </a:gs>
                </a:gsLst>
                <a:lin ang="0" scaled="1"/>
                <a:tileRect/>
              </a:gradFill>
              <a:effectLst/>
              <a:uLnTx/>
              <a:uFillTx/>
              <a:latin typeface="YS Geo Medium"/>
              <a:ea typeface="Yango Text" panose="020B0504020202020204" pitchFamily="34" charset="-79"/>
              <a:cs typeface="YS Text Bold" pitchFamily="2" charset="77"/>
            </a:endParaRP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149136D8-6073-2F7B-A7D0-6881F368E3FF}"/>
              </a:ext>
            </a:extLst>
          </p:cNvPr>
          <p:cNvSpPr>
            <a:spLocks/>
          </p:cNvSpPr>
          <p:nvPr/>
        </p:nvSpPr>
        <p:spPr>
          <a:xfrm>
            <a:off x="17991807" y="9888763"/>
            <a:ext cx="4287411" cy="3033179"/>
          </a:xfrm>
          <a:prstGeom prst="roundRect">
            <a:avLst>
              <a:gd name="adj" fmla="val 16586"/>
            </a:avLst>
          </a:prstGeom>
          <a:solidFill>
            <a:schemeClr val="accent3">
              <a:alpha val="7000"/>
            </a:schemeClr>
          </a:solidFill>
          <a:ln>
            <a:gradFill flip="none" rotWithShape="1">
              <a:gsLst>
                <a:gs pos="0">
                  <a:schemeClr val="bg2">
                    <a:alpha val="21000"/>
                  </a:schemeClr>
                </a:gs>
                <a:gs pos="100000">
                  <a:schemeClr val="bg1">
                    <a:alpha val="10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sz="2800" dirty="0" err="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6EA272-3486-321C-ED83-E0A8610739FF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10070"/>
          <a:stretch/>
        </p:blipFill>
        <p:spPr>
          <a:xfrm>
            <a:off x="4239690" y="6057900"/>
            <a:ext cx="7715446" cy="7658100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BFC501A3-32D8-4555-67A6-BC082BEE5583}"/>
              </a:ext>
            </a:extLst>
          </p:cNvPr>
          <p:cNvSpPr/>
          <p:nvPr/>
        </p:nvSpPr>
        <p:spPr>
          <a:xfrm>
            <a:off x="22998184" y="12630150"/>
            <a:ext cx="1340547" cy="824073"/>
          </a:xfrm>
          <a:prstGeom prst="rect">
            <a:avLst/>
          </a:prstGeom>
          <a:solidFill>
            <a:srgbClr val="292B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l"/>
            <a:endParaRPr lang="en-GB" sz="3200" dirty="0" err="1">
              <a:solidFill>
                <a:schemeClr val="tx1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A3C0217-88C3-5059-2BCB-D7F2248925FB}"/>
              </a:ext>
            </a:extLst>
          </p:cNvPr>
          <p:cNvSpPr txBox="1"/>
          <p:nvPr/>
        </p:nvSpPr>
        <p:spPr>
          <a:xfrm>
            <a:off x="18858554" y="11481656"/>
            <a:ext cx="2724189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2400" dirty="0">
                <a:solidFill>
                  <a:schemeClr val="bg1">
                    <a:alpha val="26000"/>
                  </a:schemeClr>
                </a:solidFill>
              </a:rPr>
              <a:t>«катаюсь </a:t>
            </a:r>
            <a:br>
              <a:rPr lang="ru-RU" sz="2400" dirty="0">
                <a:solidFill>
                  <a:schemeClr val="bg1">
                    <a:alpha val="26000"/>
                  </a:schemeClr>
                </a:solidFill>
              </a:rPr>
            </a:br>
            <a:r>
              <a:rPr lang="ru-RU" sz="2400" dirty="0">
                <a:solidFill>
                  <a:schemeClr val="bg1">
                    <a:alpha val="26000"/>
                  </a:schemeClr>
                </a:solidFill>
              </a:rPr>
              <a:t>для удовольствия»</a:t>
            </a:r>
          </a:p>
        </p:txBody>
      </p:sp>
      <p:sp>
        <p:nvSpPr>
          <p:cNvPr id="41" name="Text Placeholder 29">
            <a:extLst>
              <a:ext uri="{FF2B5EF4-FFF2-40B4-BE49-F238E27FC236}">
                <a16:creationId xmlns:a16="http://schemas.microsoft.com/office/drawing/2014/main" id="{2F288101-3A2C-F8E5-EC10-96704D010E60}"/>
              </a:ext>
            </a:extLst>
          </p:cNvPr>
          <p:cNvSpPr txBox="1">
            <a:spLocks/>
          </p:cNvSpPr>
          <p:nvPr/>
        </p:nvSpPr>
        <p:spPr>
          <a:xfrm>
            <a:off x="18801173" y="10557358"/>
            <a:ext cx="1851469" cy="89550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1pPr>
            <a:lvl2pPr marL="36" marR="0" indent="0" algn="l" defTabSz="1907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lang="en-GB" sz="3200" b="0" i="0" kern="1200" baseline="0">
                <a:solidFill>
                  <a:schemeClr val="tx1"/>
                </a:solidFill>
                <a:latin typeface="Yango Text Medium" panose="020B0504020202020204" pitchFamily="34" charset="-79"/>
                <a:ea typeface="Yango Text Medium" panose="020B0504020202020204" pitchFamily="34" charset="-79"/>
                <a:cs typeface="Yango Text Medium" panose="020B0504020202020204" pitchFamily="34" charset="-79"/>
              </a:defRPr>
            </a:lvl2pPr>
            <a:lvl3pPr marL="360000" marR="0" indent="-360000" algn="l" defTabSz="18286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tabLst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3pPr>
            <a:lvl4pPr marL="720000" indent="-36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System Font Regular"/>
              <a:buChar char="−"/>
              <a:tabLst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Tx/>
              <a:buNone/>
              <a:defRPr sz="2400" b="0" i="0" kern="1200" baseline="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" marR="0" lvl="1" indent="0" algn="l" defTabSz="1907905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Clr>
                <a:srgbClr val="FFFFFF"/>
              </a:buClr>
              <a:buSzPct val="120000"/>
              <a:buFont typeface="Arial Unicode MS" panose="020B0604020202020204" pitchFamily="34" charset="-128"/>
              <a:buNone/>
              <a:tabLst/>
              <a:defRPr/>
            </a:pPr>
            <a:r>
              <a:rPr lang="ru-RU" sz="7200" dirty="0">
                <a:gradFill>
                  <a:gsLst>
                    <a:gs pos="100000">
                      <a:srgbClr val="7E8597">
                        <a:alpha val="75000"/>
                      </a:srgbClr>
                    </a:gs>
                    <a:gs pos="0">
                      <a:srgbClr val="FFFFFF">
                        <a:alpha val="72000"/>
                      </a:srgbClr>
                    </a:gs>
                  </a:gsLst>
                  <a:lin ang="10800000" scaled="1"/>
                </a:gradFill>
                <a:latin typeface="YS Geo Medium"/>
                <a:cs typeface="YS Text Bold" pitchFamily="2" charset="77"/>
              </a:rPr>
              <a:t>68%</a:t>
            </a:r>
            <a:endParaRPr kumimoji="0" lang="ru-RU" sz="7200" b="0" i="0" u="none" strike="noStrike" kern="1200" cap="none" spc="0" normalizeH="0" baseline="0" noProof="0" dirty="0">
              <a:ln>
                <a:noFill/>
              </a:ln>
              <a:gradFill>
                <a:gsLst>
                  <a:gs pos="100000">
                    <a:srgbClr val="7E8597">
                      <a:alpha val="75000"/>
                    </a:srgbClr>
                  </a:gs>
                  <a:gs pos="0">
                    <a:srgbClr val="FFFFFF">
                      <a:alpha val="72000"/>
                    </a:srgbClr>
                  </a:gs>
                </a:gsLst>
                <a:lin ang="10800000" scaled="1"/>
              </a:gradFill>
              <a:effectLst/>
              <a:uLnTx/>
              <a:uFillTx/>
              <a:latin typeface="YS Geo Medium"/>
              <a:ea typeface="Yango Text" panose="020B0504020202020204" pitchFamily="34" charset="-79"/>
              <a:cs typeface="YS Text Bold" pitchFamily="2" charset="77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EFB2BB73-DD00-FFBC-71B7-37F82C413708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/>
          </a:blip>
          <a:srcRect/>
          <a:stretch>
            <a:fillRect/>
          </a:stretch>
        </p:blipFill>
        <p:spPr>
          <a:xfrm rot="20363917" flipH="1">
            <a:off x="8765853" y="4208257"/>
            <a:ext cx="10376920" cy="10376920"/>
          </a:xfrm>
          <a:custGeom>
            <a:avLst/>
            <a:gdLst>
              <a:gd name="connsiteX0" fmla="*/ 8720661 w 11512753"/>
              <a:gd name="connsiteY0" fmla="*/ 1911785 h 11512753"/>
              <a:gd name="connsiteX1" fmla="*/ 11182262 w 11512753"/>
              <a:gd name="connsiteY1" fmla="*/ 8460290 h 11512753"/>
              <a:gd name="connsiteX2" fmla="*/ 9388895 w 11512753"/>
              <a:gd name="connsiteY2" fmla="*/ 9134422 h 11512753"/>
              <a:gd name="connsiteX3" fmla="*/ 6927294 w 11512753"/>
              <a:gd name="connsiteY3" fmla="*/ 2585917 h 11512753"/>
              <a:gd name="connsiteX4" fmla="*/ 0 w 11512753"/>
              <a:gd name="connsiteY4" fmla="*/ 0 h 11512753"/>
              <a:gd name="connsiteX5" fmla="*/ 0 w 11512753"/>
              <a:gd name="connsiteY5" fmla="*/ 11512753 h 11512753"/>
              <a:gd name="connsiteX6" fmla="*/ 11512753 w 11512753"/>
              <a:gd name="connsiteY6" fmla="*/ 11512753 h 11512753"/>
              <a:gd name="connsiteX7" fmla="*/ 11512753 w 11512753"/>
              <a:gd name="connsiteY7" fmla="*/ 1 h 11512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512753" h="11512753">
                <a:moveTo>
                  <a:pt x="8720661" y="1911785"/>
                </a:moveTo>
                <a:lnTo>
                  <a:pt x="11182262" y="8460290"/>
                </a:lnTo>
                <a:lnTo>
                  <a:pt x="9388895" y="9134422"/>
                </a:lnTo>
                <a:lnTo>
                  <a:pt x="6927294" y="2585917"/>
                </a:lnTo>
                <a:close/>
                <a:moveTo>
                  <a:pt x="0" y="0"/>
                </a:moveTo>
                <a:lnTo>
                  <a:pt x="0" y="11512753"/>
                </a:lnTo>
                <a:lnTo>
                  <a:pt x="11512753" y="11512753"/>
                </a:lnTo>
                <a:lnTo>
                  <a:pt x="11512753" y="1"/>
                </a:lnTo>
                <a:close/>
              </a:path>
            </a:pathLst>
          </a:custGeom>
        </p:spPr>
      </p:pic>
      <p:sp>
        <p:nvSpPr>
          <p:cNvPr id="29" name="Oval 28">
            <a:extLst>
              <a:ext uri="{FF2B5EF4-FFF2-40B4-BE49-F238E27FC236}">
                <a16:creationId xmlns:a16="http://schemas.microsoft.com/office/drawing/2014/main" id="{772B6B17-4753-46F2-FA30-5A7C9CD853D0}"/>
              </a:ext>
            </a:extLst>
          </p:cNvPr>
          <p:cNvSpPr/>
          <p:nvPr/>
        </p:nvSpPr>
        <p:spPr>
          <a:xfrm>
            <a:off x="11341278" y="5120851"/>
            <a:ext cx="7289710" cy="7289708"/>
          </a:xfrm>
          <a:prstGeom prst="ellipse">
            <a:avLst/>
          </a:prstGeom>
          <a:gradFill flip="none" rotWithShape="1">
            <a:gsLst>
              <a:gs pos="18000">
                <a:schemeClr val="accent5"/>
              </a:gs>
              <a:gs pos="100000">
                <a:schemeClr val="accent5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l"/>
            <a:endParaRPr lang="en-GB" sz="3200" dirty="0" err="1">
              <a:solidFill>
                <a:schemeClr val="tx1"/>
              </a:solidFill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04933784-ECEB-2156-5B67-3E29BCEEFE6A}"/>
              </a:ext>
            </a:extLst>
          </p:cNvPr>
          <p:cNvSpPr/>
          <p:nvPr/>
        </p:nvSpPr>
        <p:spPr>
          <a:xfrm rot="16200000">
            <a:off x="10089322" y="1866888"/>
            <a:ext cx="13711538" cy="9968816"/>
          </a:xfrm>
          <a:prstGeom prst="roundRect">
            <a:avLst>
              <a:gd name="adj" fmla="val 0"/>
            </a:avLst>
          </a:prstGeom>
          <a:gradFill>
            <a:gsLst>
              <a:gs pos="0">
                <a:srgbClr val="1F2127"/>
              </a:gs>
              <a:gs pos="35000">
                <a:srgbClr val="373A43">
                  <a:alpha val="0"/>
                </a:srgbClr>
              </a:gs>
            </a:gsLst>
            <a:lin ang="4800000" scaled="0"/>
          </a:gradFill>
          <a:ln w="38100">
            <a:noFill/>
          </a:ln>
          <a:effectLst>
            <a:outerShdw blurRad="635000" dist="584200" dir="8100000" algn="tr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800" dirty="0" err="1"/>
          </a:p>
        </p:txBody>
      </p:sp>
      <p:sp>
        <p:nvSpPr>
          <p:cNvPr id="25" name="Text Placeholder 29">
            <a:extLst>
              <a:ext uri="{FF2B5EF4-FFF2-40B4-BE49-F238E27FC236}">
                <a16:creationId xmlns:a16="http://schemas.microsoft.com/office/drawing/2014/main" id="{1241B455-753C-A69F-28D1-A4BCB875F979}"/>
              </a:ext>
            </a:extLst>
          </p:cNvPr>
          <p:cNvSpPr txBox="1">
            <a:spLocks/>
          </p:cNvSpPr>
          <p:nvPr/>
        </p:nvSpPr>
        <p:spPr>
          <a:xfrm>
            <a:off x="12354833" y="8030029"/>
            <a:ext cx="3558667" cy="171630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1pPr>
            <a:lvl2pPr marL="36" marR="0" indent="0" algn="l" defTabSz="1907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lang="en-GB" sz="3200" b="0" i="0" kern="1200" baseline="0">
                <a:solidFill>
                  <a:schemeClr val="tx1"/>
                </a:solidFill>
                <a:latin typeface="Yango Text Medium" panose="020B0504020202020204" pitchFamily="34" charset="-79"/>
                <a:ea typeface="Yango Text Medium" panose="020B0504020202020204" pitchFamily="34" charset="-79"/>
                <a:cs typeface="Yango Text Medium" panose="020B0504020202020204" pitchFamily="34" charset="-79"/>
              </a:defRPr>
            </a:lvl2pPr>
            <a:lvl3pPr marL="360000" marR="0" indent="-360000" algn="l" defTabSz="18286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tabLst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3pPr>
            <a:lvl4pPr marL="720000" indent="-36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System Font Regular"/>
              <a:buChar char="−"/>
              <a:tabLst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Tx/>
              <a:buNone/>
              <a:defRPr sz="2400" b="0" i="0" kern="1200" baseline="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" marR="0" lvl="1" indent="0" algn="l" defTabSz="1907905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Clr>
                <a:srgbClr val="FFFFFF"/>
              </a:buClr>
              <a:buSzPct val="120000"/>
              <a:buFont typeface="Arial Unicode MS" panose="020B0604020202020204" pitchFamily="34" charset="-128"/>
              <a:buNone/>
              <a:tabLst/>
              <a:defRPr/>
            </a:pPr>
            <a:r>
              <a:rPr lang="ru-RU" sz="13800" dirty="0">
                <a:solidFill>
                  <a:schemeClr val="accent1"/>
                </a:solidFill>
                <a:latin typeface="YS Geo Medium"/>
                <a:cs typeface="YS Text Bold" pitchFamily="2" charset="77"/>
              </a:rPr>
              <a:t>94%</a:t>
            </a:r>
            <a:endParaRPr kumimoji="0" lang="ru-RU" sz="138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YS Geo Medium"/>
              <a:ea typeface="Yango Text" panose="020B0504020202020204" pitchFamily="34" charset="-79"/>
              <a:cs typeface="YS Text Bold" pitchFamily="2" charset="77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A97E1AC7-F9F8-E93E-5A46-B6099A91539A}"/>
              </a:ext>
            </a:extLst>
          </p:cNvPr>
          <p:cNvSpPr/>
          <p:nvPr/>
        </p:nvSpPr>
        <p:spPr>
          <a:xfrm>
            <a:off x="2248270" y="4698523"/>
            <a:ext cx="11639180" cy="3920282"/>
          </a:xfrm>
          <a:prstGeom prst="ellipse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5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l"/>
            <a:endParaRPr lang="en-GB" sz="3200" dirty="0" err="1">
              <a:solidFill>
                <a:schemeClr val="tx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7ECDD63-05A9-AF54-6B30-FC6FEC1AC7B8}"/>
              </a:ext>
            </a:extLst>
          </p:cNvPr>
          <p:cNvSpPr txBox="1"/>
          <p:nvPr/>
        </p:nvSpPr>
        <p:spPr>
          <a:xfrm>
            <a:off x="12383125" y="9591402"/>
            <a:ext cx="4810612" cy="8617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2800" dirty="0">
                <a:solidFill>
                  <a:schemeClr val="accent1">
                    <a:alpha val="73000"/>
                  </a:schemeClr>
                </a:solidFill>
              </a:rPr>
              <a:t>«использую</a:t>
            </a:r>
            <a:br>
              <a:rPr lang="ru-RU" sz="2800" dirty="0">
                <a:solidFill>
                  <a:schemeClr val="accent1">
                    <a:alpha val="73000"/>
                  </a:schemeClr>
                </a:solidFill>
              </a:rPr>
            </a:br>
            <a:r>
              <a:rPr lang="ru-RU" sz="2800" dirty="0">
                <a:solidFill>
                  <a:schemeClr val="accent1">
                    <a:alpha val="73000"/>
                  </a:schemeClr>
                </a:solidFill>
              </a:rPr>
              <a:t>как транспорт»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F5AAD46-6975-50DE-F127-A664168B0FC2}"/>
              </a:ext>
            </a:extLst>
          </p:cNvPr>
          <p:cNvSpPr/>
          <p:nvPr/>
        </p:nvSpPr>
        <p:spPr>
          <a:xfrm rot="10800000">
            <a:off x="0" y="-2"/>
            <a:ext cx="24242704" cy="4563892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0"/>
                </a:schemeClr>
              </a:gs>
              <a:gs pos="44000">
                <a:schemeClr val="tx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l"/>
            <a:endParaRPr lang="en-GB" sz="3200" dirty="0" err="1">
              <a:solidFill>
                <a:schemeClr val="tx1"/>
              </a:solidFill>
            </a:endParaRPr>
          </a:p>
        </p:txBody>
      </p:sp>
      <p:sp>
        <p:nvSpPr>
          <p:cNvPr id="12" name="Arc 11">
            <a:extLst>
              <a:ext uri="{FF2B5EF4-FFF2-40B4-BE49-F238E27FC236}">
                <a16:creationId xmlns:a16="http://schemas.microsoft.com/office/drawing/2014/main" id="{0A53CD58-FC8A-D030-8547-7D974C1C2178}"/>
              </a:ext>
            </a:extLst>
          </p:cNvPr>
          <p:cNvSpPr/>
          <p:nvPr/>
        </p:nvSpPr>
        <p:spPr>
          <a:xfrm rot="15604462" flipH="1" flipV="1">
            <a:off x="15675238" y="5604690"/>
            <a:ext cx="3744586" cy="3744583"/>
          </a:xfrm>
          <a:prstGeom prst="arc">
            <a:avLst>
              <a:gd name="adj1" fmla="val 16422003"/>
              <a:gd name="adj2" fmla="val 1668208"/>
            </a:avLst>
          </a:prstGeom>
          <a:ln w="47625" cap="sq" cmpd="sng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16200000" scaled="1"/>
              <a:tileRect/>
            </a:gradFill>
            <a:prstDash val="solid"/>
            <a:bevel/>
            <a:headEnd type="triangle" w="lg" len="lg"/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0F5F0FC2-A5BA-9471-FC35-BCB214FF0B32}"/>
              </a:ext>
            </a:extLst>
          </p:cNvPr>
          <p:cNvSpPr/>
          <p:nvPr/>
        </p:nvSpPr>
        <p:spPr>
          <a:xfrm rot="16200000" flipH="1" flipV="1">
            <a:off x="97670" y="1871356"/>
            <a:ext cx="13711538" cy="9968816"/>
          </a:xfrm>
          <a:prstGeom prst="roundRect">
            <a:avLst>
              <a:gd name="adj" fmla="val 0"/>
            </a:avLst>
          </a:prstGeom>
          <a:gradFill>
            <a:gsLst>
              <a:gs pos="0">
                <a:srgbClr val="1F2127"/>
              </a:gs>
              <a:gs pos="35000">
                <a:srgbClr val="373A43">
                  <a:alpha val="0"/>
                </a:srgbClr>
              </a:gs>
            </a:gsLst>
            <a:lin ang="4800000" scaled="0"/>
          </a:gradFill>
          <a:ln w="38100">
            <a:noFill/>
          </a:ln>
          <a:effectLst>
            <a:outerShdw blurRad="635000" dist="584200" dir="8100000" algn="tr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800" dirty="0" err="1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E3411ACA-983C-2E05-3919-42ED80CB1382}"/>
              </a:ext>
            </a:extLst>
          </p:cNvPr>
          <p:cNvSpPr/>
          <p:nvPr/>
        </p:nvSpPr>
        <p:spPr>
          <a:xfrm rot="10800000">
            <a:off x="0" y="391879"/>
            <a:ext cx="24242704" cy="5922953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0"/>
                </a:schemeClr>
              </a:gs>
              <a:gs pos="44000">
                <a:schemeClr val="tx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l"/>
            <a:endParaRPr lang="en-GB" sz="3200" dirty="0" err="1">
              <a:solidFill>
                <a:schemeClr val="tx1"/>
              </a:solidFill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8918BEC-B06E-B30E-C417-98CBC578EB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2606" y="1681842"/>
            <a:ext cx="20902158" cy="1781898"/>
          </a:xfrm>
        </p:spPr>
        <p:txBody>
          <a:bodyPr vert="horz"/>
          <a:lstStyle/>
          <a:p>
            <a:r>
              <a:rPr lang="ru-RU" sz="7200" dirty="0">
                <a:solidFill>
                  <a:schemeClr val="accent1"/>
                </a:solidFill>
              </a:rPr>
              <a:t>рациональные факторы </a:t>
            </a:r>
            <a:r>
              <a:rPr lang="ru-RU" sz="7200" dirty="0"/>
              <a:t>стали </a:t>
            </a:r>
            <a:br>
              <a:rPr lang="ru-RU" sz="7200" dirty="0"/>
            </a:br>
            <a:r>
              <a:rPr lang="ru-RU" sz="7200" dirty="0"/>
              <a:t>превалировать над эмоциональными</a:t>
            </a:r>
          </a:p>
        </p:txBody>
      </p:sp>
      <p:pic>
        <p:nvPicPr>
          <p:cNvPr id="42" name="Graphic 41">
            <a:extLst>
              <a:ext uri="{FF2B5EF4-FFF2-40B4-BE49-F238E27FC236}">
                <a16:creationId xmlns:a16="http://schemas.microsoft.com/office/drawing/2014/main" id="{0DB7B54A-8020-0245-580D-B40BAED99AA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92175" y="584708"/>
            <a:ext cx="3089275" cy="450519"/>
          </a:xfrm>
          <a:prstGeom prst="rect">
            <a:avLst/>
          </a:prstGeom>
        </p:spPr>
      </p:pic>
      <p:sp>
        <p:nvSpPr>
          <p:cNvPr id="56" name="Text Placeholder 29">
            <a:extLst>
              <a:ext uri="{FF2B5EF4-FFF2-40B4-BE49-F238E27FC236}">
                <a16:creationId xmlns:a16="http://schemas.microsoft.com/office/drawing/2014/main" id="{423C8ECA-7940-C3D8-C367-0AA9FCD1D505}"/>
              </a:ext>
            </a:extLst>
          </p:cNvPr>
          <p:cNvSpPr txBox="1">
            <a:spLocks/>
          </p:cNvSpPr>
          <p:nvPr/>
        </p:nvSpPr>
        <p:spPr>
          <a:xfrm>
            <a:off x="6763669" y="4532345"/>
            <a:ext cx="3335850" cy="171630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1pPr>
            <a:lvl2pPr marL="36" marR="0" indent="0" algn="l" defTabSz="1907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lang="en-GB" sz="3200" b="0" i="0" kern="1200" baseline="0">
                <a:solidFill>
                  <a:schemeClr val="tx1"/>
                </a:solidFill>
                <a:latin typeface="Yango Text Medium" panose="020B0504020202020204" pitchFamily="34" charset="-79"/>
                <a:ea typeface="Yango Text Medium" panose="020B0504020202020204" pitchFamily="34" charset="-79"/>
                <a:cs typeface="Yango Text Medium" panose="020B0504020202020204" pitchFamily="34" charset="-79"/>
              </a:defRPr>
            </a:lvl2pPr>
            <a:lvl3pPr marL="360000" marR="0" indent="-360000" algn="l" defTabSz="18286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tabLst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3pPr>
            <a:lvl4pPr marL="720000" indent="-36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System Font Regular"/>
              <a:buChar char="−"/>
              <a:tabLst/>
              <a:defRPr sz="2400" b="0" i="0" kern="120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Tx/>
              <a:buNone/>
              <a:defRPr sz="2400" b="0" i="0" kern="1200" baseline="0">
                <a:solidFill>
                  <a:schemeClr val="tx1"/>
                </a:solidFill>
                <a:latin typeface="Yango Text" panose="020B0504020202020204" pitchFamily="34" charset="-79"/>
                <a:ea typeface="Yango Text" panose="020B0504020202020204" pitchFamily="34" charset="-79"/>
                <a:cs typeface="Yango Text" panose="020B0504020202020204" pitchFamily="34" charset="-79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" marR="0" lvl="1" indent="0" algn="l" defTabSz="1907905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Clr>
                <a:srgbClr val="FFFFFF"/>
              </a:buClr>
              <a:buSzPct val="120000"/>
              <a:buFont typeface="Arial Unicode MS" panose="020B0604020202020204" pitchFamily="34" charset="-128"/>
              <a:buNone/>
              <a:tabLst/>
              <a:defRPr/>
            </a:pPr>
            <a:r>
              <a:rPr lang="en-US" sz="13800" dirty="0">
                <a:solidFill>
                  <a:schemeClr val="accent1"/>
                </a:solidFill>
                <a:latin typeface="YS Geo Medium"/>
                <a:cs typeface="YS Text Bold" pitchFamily="2" charset="77"/>
              </a:rPr>
              <a:t>52</a:t>
            </a:r>
            <a:r>
              <a:rPr lang="ru-RU" sz="13800" dirty="0">
                <a:solidFill>
                  <a:schemeClr val="accent1"/>
                </a:solidFill>
                <a:latin typeface="YS Geo Medium"/>
                <a:cs typeface="YS Text Bold" pitchFamily="2" charset="77"/>
              </a:rPr>
              <a:t>%</a:t>
            </a:r>
            <a:endParaRPr kumimoji="0" lang="ru-RU" sz="138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YS Geo Medium"/>
              <a:ea typeface="Yango Text" panose="020B0504020202020204" pitchFamily="34" charset="-79"/>
              <a:cs typeface="YS Text Bold" pitchFamily="2" charset="77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F5FDE23C-A886-F8BF-1B75-B588220CDB62}"/>
              </a:ext>
            </a:extLst>
          </p:cNvPr>
          <p:cNvSpPr txBox="1"/>
          <p:nvPr/>
        </p:nvSpPr>
        <p:spPr>
          <a:xfrm>
            <a:off x="5181618" y="6123459"/>
            <a:ext cx="4810612" cy="8617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pPr algn="r"/>
            <a:r>
              <a:rPr lang="ru-RU" sz="2800" dirty="0">
                <a:solidFill>
                  <a:schemeClr val="accent1">
                    <a:alpha val="73000"/>
                  </a:schemeClr>
                </a:solidFill>
              </a:rPr>
              <a:t>«это хорошо насыщает </a:t>
            </a:r>
            <a:br>
              <a:rPr lang="ru-RU" sz="2800" dirty="0">
                <a:solidFill>
                  <a:schemeClr val="accent1">
                    <a:alpha val="73000"/>
                  </a:schemeClr>
                </a:solidFill>
              </a:rPr>
            </a:br>
            <a:r>
              <a:rPr lang="ru-RU" sz="2800" dirty="0">
                <a:solidFill>
                  <a:schemeClr val="accent1">
                    <a:alpha val="73000"/>
                  </a:schemeClr>
                </a:solidFill>
              </a:rPr>
              <a:t>и утоляет голод»</a:t>
            </a:r>
          </a:p>
        </p:txBody>
      </p:sp>
      <p:sp>
        <p:nvSpPr>
          <p:cNvPr id="13" name="Arc 12">
            <a:extLst>
              <a:ext uri="{FF2B5EF4-FFF2-40B4-BE49-F238E27FC236}">
                <a16:creationId xmlns:a16="http://schemas.microsoft.com/office/drawing/2014/main" id="{50EF032E-BE41-E091-4AB7-4A265734D637}"/>
              </a:ext>
            </a:extLst>
          </p:cNvPr>
          <p:cNvSpPr/>
          <p:nvPr/>
        </p:nvSpPr>
        <p:spPr>
          <a:xfrm rot="5995538" flipV="1">
            <a:off x="3413180" y="6118335"/>
            <a:ext cx="2933052" cy="2933050"/>
          </a:xfrm>
          <a:prstGeom prst="arc">
            <a:avLst>
              <a:gd name="adj1" fmla="val 16422003"/>
              <a:gd name="adj2" fmla="val 1668208"/>
            </a:avLst>
          </a:prstGeom>
          <a:ln w="47625" cap="sq" cmpd="sng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16200000" scaled="1"/>
              <a:tileRect/>
            </a:gradFill>
            <a:prstDash val="solid"/>
            <a:bevel/>
            <a:headEnd type="triangle" w="lg" len="lg"/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C735C75-9360-D369-699A-B8646C348C0C}"/>
              </a:ext>
            </a:extLst>
          </p:cNvPr>
          <p:cNvSpPr txBox="1"/>
          <p:nvPr/>
        </p:nvSpPr>
        <p:spPr>
          <a:xfrm>
            <a:off x="17882371" y="4694488"/>
            <a:ext cx="4287411" cy="21544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2800" dirty="0">
                <a:solidFill>
                  <a:schemeClr val="bg1"/>
                </a:solidFill>
                <a:latin typeface="+mj-lt"/>
              </a:rPr>
              <a:t>самокаты перестали</a:t>
            </a:r>
            <a:br>
              <a:rPr lang="ru-RU" sz="2800" dirty="0">
                <a:solidFill>
                  <a:schemeClr val="bg1"/>
                </a:solidFill>
                <a:latin typeface="+mj-lt"/>
              </a:rPr>
            </a:br>
            <a:r>
              <a:rPr lang="ru-RU" sz="2800" dirty="0">
                <a:solidFill>
                  <a:schemeClr val="bg1"/>
                </a:solidFill>
                <a:latin typeface="+mj-lt"/>
              </a:rPr>
              <a:t>быть аттракционом </a:t>
            </a:r>
            <a:br>
              <a:rPr lang="ru-RU" sz="2800" dirty="0">
                <a:solidFill>
                  <a:schemeClr val="bg1"/>
                </a:solidFill>
                <a:latin typeface="+mj-lt"/>
              </a:rPr>
            </a:br>
            <a:r>
              <a:rPr lang="ru-RU" sz="2800" dirty="0">
                <a:solidFill>
                  <a:schemeClr val="bg1"/>
                </a:solidFill>
                <a:latin typeface="+mj-lt"/>
              </a:rPr>
              <a:t>и становятся </a:t>
            </a:r>
            <a:r>
              <a:rPr lang="ru-RU" sz="2800" dirty="0">
                <a:solidFill>
                  <a:schemeClr val="accent1"/>
                </a:solidFill>
                <a:latin typeface="+mj-lt"/>
              </a:rPr>
              <a:t>повседневным транспортом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025A7E74-3CB4-C4AD-A4FB-57375D1EE256}"/>
              </a:ext>
            </a:extLst>
          </p:cNvPr>
          <p:cNvSpPr txBox="1"/>
          <p:nvPr/>
        </p:nvSpPr>
        <p:spPr>
          <a:xfrm>
            <a:off x="1609031" y="5333116"/>
            <a:ext cx="3288711" cy="17235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2800" dirty="0">
                <a:solidFill>
                  <a:schemeClr val="bg1"/>
                </a:solidFill>
                <a:latin typeface="+mj-lt"/>
              </a:rPr>
              <a:t>сценарий ужина </a:t>
            </a:r>
            <a:br>
              <a:rPr lang="en-US" sz="2800" dirty="0">
                <a:solidFill>
                  <a:schemeClr val="bg1"/>
                </a:solidFill>
                <a:latin typeface="+mj-lt"/>
              </a:rPr>
            </a:br>
            <a:r>
              <a:rPr lang="ru-RU" sz="2800" dirty="0">
                <a:solidFill>
                  <a:schemeClr val="bg1"/>
                </a:solidFill>
                <a:latin typeface="+mj-lt"/>
              </a:rPr>
              <a:t>из «побаловать себя» сместился </a:t>
            </a:r>
            <a:br>
              <a:rPr lang="en-US" sz="2800" dirty="0">
                <a:solidFill>
                  <a:schemeClr val="bg1"/>
                </a:solidFill>
                <a:latin typeface="+mj-lt"/>
              </a:rPr>
            </a:br>
            <a:r>
              <a:rPr lang="ru-RU" sz="2800" dirty="0">
                <a:solidFill>
                  <a:schemeClr val="accent1"/>
                </a:solidFill>
                <a:latin typeface="+mj-lt"/>
              </a:rPr>
              <a:t>в утоление голода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2FBBEED-AB52-D6E3-69FE-EF3BD198AB86}"/>
              </a:ext>
            </a:extLst>
          </p:cNvPr>
          <p:cNvGrpSpPr/>
          <p:nvPr/>
        </p:nvGrpSpPr>
        <p:grpSpPr>
          <a:xfrm>
            <a:off x="17882371" y="3787851"/>
            <a:ext cx="720000" cy="720676"/>
            <a:chOff x="6980495" y="3827524"/>
            <a:chExt cx="720000" cy="720676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E2D4A930-39A4-72CB-D7A5-73191A65A482}"/>
                </a:ext>
              </a:extLst>
            </p:cNvPr>
            <p:cNvSpPr>
              <a:spLocks/>
            </p:cNvSpPr>
            <p:nvPr/>
          </p:nvSpPr>
          <p:spPr>
            <a:xfrm>
              <a:off x="6980495" y="3827524"/>
              <a:ext cx="720000" cy="72067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>
              <a:noAutofit/>
            </a:bodyPr>
            <a:lstStyle/>
            <a:p>
              <a:pPr algn="l"/>
              <a:endParaRPr lang="en-GB" sz="3200" dirty="0" err="1">
                <a:solidFill>
                  <a:schemeClr val="tx1"/>
                </a:solidFill>
              </a:endParaRPr>
            </a:p>
          </p:txBody>
        </p:sp>
        <p:pic>
          <p:nvPicPr>
            <p:cNvPr id="2" name="Рисунок 30">
              <a:extLst>
                <a:ext uri="{FF2B5EF4-FFF2-40B4-BE49-F238E27FC236}">
                  <a16:creationId xmlns:a16="http://schemas.microsoft.com/office/drawing/2014/main" id="{BCC0D428-E261-52F6-CA17-F2350873259D}"/>
                </a:ext>
              </a:extLst>
            </p:cNvPr>
            <p:cNvPicPr>
              <a:picLocks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980495" y="3827524"/>
              <a:ext cx="720000" cy="720676"/>
            </a:xfrm>
            <a:prstGeom prst="rect">
              <a:avLst/>
            </a:prstGeom>
          </p:spPr>
        </p:pic>
      </p:grpSp>
      <p:pic>
        <p:nvPicPr>
          <p:cNvPr id="6" name="Picture 23">
            <a:extLst>
              <a:ext uri="{FF2B5EF4-FFF2-40B4-BE49-F238E27FC236}">
                <a16:creationId xmlns:a16="http://schemas.microsoft.com/office/drawing/2014/main" id="{9A31831F-2D0E-4FD4-AC47-76D85796237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609031" y="4426479"/>
            <a:ext cx="720000" cy="720000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77F506B-FE43-BE25-89C1-B97DF01779A4}"/>
              </a:ext>
            </a:extLst>
          </p:cNvPr>
          <p:cNvCxnSpPr>
            <a:cxnSpLocks/>
          </p:cNvCxnSpPr>
          <p:nvPr/>
        </p:nvCxnSpPr>
        <p:spPr>
          <a:xfrm>
            <a:off x="11955136" y="4223657"/>
            <a:ext cx="0" cy="9483408"/>
          </a:xfrm>
          <a:prstGeom prst="line">
            <a:avLst/>
          </a:prstGeom>
          <a:ln w="15875" cap="sq" cmpd="sng">
            <a:solidFill>
              <a:schemeClr val="bg1">
                <a:alpha val="10000"/>
              </a:schemeClr>
            </a:solidFill>
            <a:prstDash val="solid"/>
            <a:bevel/>
            <a:headEnd type="none" w="med" len="med"/>
            <a:tailEnd type="none" w="med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435A4D3B-8DD1-F5D9-3508-5D9B0713C340}"/>
              </a:ext>
            </a:extLst>
          </p:cNvPr>
          <p:cNvSpPr txBox="1"/>
          <p:nvPr/>
        </p:nvSpPr>
        <p:spPr>
          <a:xfrm>
            <a:off x="892175" y="13131292"/>
            <a:ext cx="8127471" cy="2769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>
                <a:latin typeface="YS Text Regular" pitchFamily="2" charset="0"/>
                <a:cs typeface="YS Text Regular" pitchFamily="2" charset="0"/>
              </a:defRPr>
            </a:lvl1pPr>
            <a:lvl2pPr marL="36" marR="0" lvl="1" indent="0" defTabSz="190790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tabLst/>
              <a:defRPr sz="3200" b="0" i="0" baseline="0">
                <a:latin typeface="YS Text Regular" pitchFamily="2" charset="0"/>
                <a:cs typeface="YS Text Regular" pitchFamily="2" charset="0"/>
              </a:defRPr>
            </a:lvl2pPr>
            <a:lvl3pPr marL="461237" marR="0" lvl="2" indent="-457200" defTabSz="1828619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3pPr>
            <a:lvl4pPr marL="1080000" lvl="3" indent="-45720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tabLst/>
              <a:defRPr sz="3200" b="0" i="0">
                <a:latin typeface="YS Text Regular" pitchFamily="2" charset="0"/>
                <a:cs typeface="YS Text Regular" pitchFamily="2" charset="0"/>
              </a:defRPr>
            </a:lvl4pPr>
            <a:lvl5pPr marL="0" lvl="4" indent="0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baseline="0">
                <a:latin typeface="YS Text Regular" pitchFamily="2" charset="0"/>
                <a:cs typeface="YS Text Regular" pitchFamily="2" charset="0"/>
              </a:defRPr>
            </a:lvl5pPr>
            <a:lvl6pPr marL="5028699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007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315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1623" indent="-457155" defTabSz="182861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1800" dirty="0">
                <a:solidFill>
                  <a:schemeClr val="bg1">
                    <a:alpha val="56000"/>
                  </a:schemeClr>
                </a:solidFill>
                <a:latin typeface="+mn-lt"/>
              </a:rPr>
              <a:t>*по данным Яндекс Еды и Самокатов </a:t>
            </a:r>
            <a:endParaRPr lang="en-GB" sz="1800" dirty="0">
              <a:solidFill>
                <a:schemeClr val="bg1">
                  <a:alpha val="56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927399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HINKCELLPRESENTATIONDONOTDELETE" val="&lt;?xml version=&quot;1.0&quot; encoding=&quot;UTF-16&quot; standalone=&quot;yes&quot;?&gt;&lt;root reqver=&quot;30783&quot;&gt;&lt;version val=&quot;3676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4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bNumberIsYear val=&quot;0&quot;/&gt;&lt;m_strFormatTime&gt;%1 %y&lt;/m_strFormatTime&gt;&lt;m_yearfmt&gt;&lt;begin val=&quot;4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3&quot;&gt;&lt;elem m_fUsage=&quot;4.75037096942337644379E+00&quot;&gt;&lt;m_msothmcolidx val=&quot;0&quot;/&gt;&lt;m_rgb r=&quot;E4&quot; g=&quot;E4&quot; b=&quot;E4&quot;/&gt;&lt;/elem&gt;&lt;elem m_fUsage=&quot;1.74034309766744188508E+00&quot;&gt;&lt;m_msothmcolidx val=&quot;0&quot;/&gt;&lt;m_rgb r=&quot;FF&quot; g=&quot;ED&quot; b=&quot;A9&quot;/&gt;&lt;/elem&gt;&lt;elem m_fUsage=&quot;1.12371455296382438682E+00&quot;&gt;&lt;m_msothmcolidx val=&quot;0&quot;/&gt;&lt;m_rgb r=&quot;FF&quot; g=&quot;F6&quot; b=&quot;D3&quot;/&gt;&lt;/elem&gt;&lt;elem m_fUsage=&quot;1.00000000000000000000E+00&quot;&gt;&lt;m_msothmcolidx val=&quot;0&quot;/&gt;&lt;m_rgb r=&quot;E3&quot; g=&quot;E3&quot; b=&quot;E3&quot;/&gt;&lt;/elem&gt;&lt;elem m_fUsage=&quot;1.85302018885184188735E-01&quot;&gt;&lt;m_msothmcolidx val=&quot;0&quot;/&gt;&lt;m_rgb r=&quot;D9&quot; g=&quot;D9&quot; b=&quot;D9&quot;/&gt;&lt;/elem&gt;&lt;elem m_fUsage=&quot;1.81208787900697776418E-01&quot;&gt;&lt;m_msothmcolidx val=&quot;0&quot;/&gt;&lt;m_rgb r=&quot;FE&quot; g=&quot;E5&quot; b=&quot;7F&quot;/&gt;&lt;/elem&gt;&lt;elem m_fUsage=&quot;1.66771816996665767086E-01&quot;&gt;&lt;m_msothmcolidx val=&quot;0&quot;/&gt;&lt;m_rgb r=&quot;FF&quot; g=&quot;F6&quot; b=&quot;D4&quot;/&gt;&lt;/elem&gt;&lt;elem m_fUsage=&quot;1.50094635296999207030E-01&quot;&gt;&lt;m_msothmcolidx val=&quot;0&quot;/&gt;&lt;m_rgb r=&quot;E3&quot; g=&quot;DC&quot; b=&quot;C9&quot;/&gt;&lt;/elem&gt;&lt;elem m_fUsage=&quot;9.84770902183611934744E-02&quot;&gt;&lt;m_msothmcolidx val=&quot;0&quot;/&gt;&lt;m_rgb r=&quot;DC&quot; g=&quot;AF&quot; b=&quot;01&quot;/&gt;&lt;/elem&gt;&lt;elem m_fUsage=&quot;6.46108188922667886489E-02&quot;&gt;&lt;m_msothmcolidx val=&quot;0&quot;/&gt;&lt;m_rgb r=&quot;CD&quot; g=&quot;F5&quot; b=&quot;CD&quot;/&gt;&lt;/elem&gt;&lt;elem m_fUsage=&quot;5.81497370030401097840E-02&quot;&gt;&lt;m_msothmcolidx val=&quot;0&quot;/&gt;&lt;m_rgb r=&quot;9C&quot; g=&quot;EC&quot; b=&quot;9B&quot;/&gt;&lt;/elem&gt;&lt;elem m_fUsage=&quot;5.23347633027360994995E-02&quot;&gt;&lt;m_msothmcolidx val=&quot;0&quot;/&gt;&lt;m_rgb r=&quot;6A&quot; g=&quot;E2&quot; b=&quot;6A&quot;/&gt;&lt;/elem&gt;&lt;elem m_fUsage=&quot;4.71012869724624916312E-02&quot;&gt;&lt;m_msothmcolidx val=&quot;0&quot;/&gt;&lt;m_rgb r=&quot;1B&quot; g=&quot;86&quot; b=&quot;1B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rbanAds">
  <a:themeElements>
    <a:clrScheme name="UrbanAds">
      <a:dk1>
        <a:srgbClr val="292B31"/>
      </a:dk1>
      <a:lt1>
        <a:srgbClr val="FFFFFF"/>
      </a:lt1>
      <a:dk2>
        <a:srgbClr val="292B31"/>
      </a:dk2>
      <a:lt2>
        <a:srgbClr val="FFFFFF"/>
      </a:lt2>
      <a:accent1>
        <a:srgbClr val="81F4EF"/>
      </a:accent1>
      <a:accent2>
        <a:srgbClr val="E8E9EB"/>
      </a:accent2>
      <a:accent3>
        <a:srgbClr val="7E8597"/>
      </a:accent3>
      <a:accent4>
        <a:srgbClr val="4C4F5A"/>
      </a:accent4>
      <a:accent5>
        <a:srgbClr val="292B31"/>
      </a:accent5>
      <a:accent6>
        <a:srgbClr val="FFFFFF"/>
      </a:accent6>
      <a:hlink>
        <a:srgbClr val="292B31"/>
      </a:hlink>
      <a:folHlink>
        <a:srgbClr val="292B31"/>
      </a:folHlink>
    </a:clrScheme>
    <a:fontScheme name="UrbanAds">
      <a:majorFont>
        <a:latin typeface="YS Geo Medium"/>
        <a:ea typeface=""/>
        <a:cs typeface=""/>
      </a:majorFont>
      <a:minorFont>
        <a:latin typeface="YS Geo Regular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180000" tIns="180000" rIns="180000" bIns="180000" rtlCol="0" anchor="t"/>
      <a:lstStyle>
        <a:defPPr algn="l">
          <a:defRPr sz="3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0" cap="sq" cmpd="sng">
          <a:solidFill>
            <a:schemeClr val="tx1"/>
          </a:solidFill>
          <a:prstDash val="solid"/>
          <a:bevel/>
          <a:headEnd type="none" w="med" len="med"/>
          <a:tailEnd type="none" w="med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anchor="t">
        <a:spAutoFit/>
      </a:bodyPr>
      <a:lstStyle>
        <a:defPPr algn="l">
          <a:spcAft>
            <a:spcPts val="1800"/>
          </a:spcAft>
          <a:defRPr sz="3200" dirty="0"/>
        </a:defPPr>
      </a:lstStyle>
    </a:txDef>
  </a:objectDefaults>
  <a:extraClrSchemeLst/>
  <a:custClrLst>
    <a:custClr name="Color1">
      <a:srgbClr val="CFE6D4"/>
    </a:custClr>
    <a:custClr name="Color2">
      <a:srgbClr val="F4E9E1"/>
    </a:custClr>
    <a:custClr name="Color3">
      <a:srgbClr val="51AD91"/>
    </a:custClr>
    <a:custClr name="Color4">
      <a:srgbClr val="E5221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4B6830B343BF064BA1D84EEE688E8D9F" ma:contentTypeVersion="64" ma:contentTypeDescription="Create a new document." ma:contentTypeScope="" ma:versionID="054423fd7e374b7bd2c83a74e169ead6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a7bb3922cbd56e1e4a1627deaa8b357b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" ma:displayName="Тип контента"/>
        <xsd:element ref="dc:title" minOccurs="0" maxOccurs="1" ma:index="3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8B43A66-76A9-4CD8-BBF9-020FEA6B806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6CD4D796-9E58-46FE-AA5C-787E0694860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A9B6BBA2-7AB4-4E63-AC6A-F75833CF601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3081</TotalTime>
  <Words>1253</Words>
  <Application>Microsoft Macintosh PowerPoint</Application>
  <PresentationFormat>Произвольный</PresentationFormat>
  <Paragraphs>215</Paragraphs>
  <Slides>23</Slides>
  <Notes>14</Notes>
  <HiddenSlides>0</HiddenSlides>
  <MMClips>2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3</vt:i4>
      </vt:variant>
    </vt:vector>
  </HeadingPairs>
  <TitlesOfParts>
    <vt:vector size="31" baseType="lpstr">
      <vt:lpstr>Arial Unicode MS</vt:lpstr>
      <vt:lpstr>Arial</vt:lpstr>
      <vt:lpstr>Georgia</vt:lpstr>
      <vt:lpstr>System Font Regular</vt:lpstr>
      <vt:lpstr>YS Geo Medium</vt:lpstr>
      <vt:lpstr>YS Text Regular</vt:lpstr>
      <vt:lpstr>UrbanAds</vt:lpstr>
      <vt:lpstr>think-cell Slide</vt:lpstr>
      <vt:lpstr>homo intolerance: новые нормы  в культурном коде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высокий уровень сервиса стал привычкой и зоной комфорта</vt:lpstr>
      <vt:lpstr>рациональные факторы стали  превалировать над эмоциональными</vt:lpstr>
      <vt:lpstr>готовые решения вместо  хаотичного выбора</vt:lpstr>
      <vt:lpstr>Презентация PowerPoint</vt:lpstr>
      <vt:lpstr>Презентация PowerPoint</vt:lpstr>
      <vt:lpstr>быстрее = ценнее</vt:lpstr>
      <vt:lpstr>решения для тех, кто не готов ждать </vt:lpstr>
      <vt:lpstr>фокус = я</vt:lpstr>
      <vt:lpstr>Презентация PowerPoint</vt:lpstr>
      <vt:lpstr>забота &gt; цена</vt:lpstr>
      <vt:lpstr>решения для тех, кто ценит комфорт и заботу</vt:lpstr>
      <vt:lpstr>Презентация PowerPoint</vt:lpstr>
      <vt:lpstr>Презентация PowerPoint</vt:lpstr>
      <vt:lpstr>Презентация PowerPoint</vt:lpstr>
      <vt:lpstr>кто нас ждёт через 5 лет</vt:lpstr>
      <vt:lpstr>Презентация PowerPoint</vt:lpstr>
    </vt:vector>
  </TitlesOfParts>
  <Manager>Maria Kutuzova</Manager>
  <Company>Yandex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subject>show_YST</dc:subject>
  <dc:creator>presentation</dc:creator>
  <cp:keywords/>
  <dc:description/>
  <cp:lastModifiedBy>Darya Belova</cp:lastModifiedBy>
  <cp:revision>671</cp:revision>
  <dcterms:created xsi:type="dcterms:W3CDTF">2014-09-09T08:22:07Z</dcterms:created>
  <dcterms:modified xsi:type="dcterms:W3CDTF">2026-04-24T22:37:23Z</dcterms:modified>
  <cp:category>presentation technology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0d5c4f4-7a29-4385-b7a5-afbe2154ae6f_Enabled">
    <vt:lpwstr>true</vt:lpwstr>
  </property>
  <property fmtid="{D5CDD505-2E9C-101B-9397-08002B2CF9AE}" pid="3" name="MSIP_Label_b0d5c4f4-7a29-4385-b7a5-afbe2154ae6f_SetDate">
    <vt:lpwstr>2021-12-23T14:36:27Z</vt:lpwstr>
  </property>
  <property fmtid="{D5CDD505-2E9C-101B-9397-08002B2CF9AE}" pid="4" name="MSIP_Label_b0d5c4f4-7a29-4385-b7a5-afbe2154ae6f_Method">
    <vt:lpwstr>Standard</vt:lpwstr>
  </property>
  <property fmtid="{D5CDD505-2E9C-101B-9397-08002B2CF9AE}" pid="5" name="MSIP_Label_b0d5c4f4-7a29-4385-b7a5-afbe2154ae6f_Name">
    <vt:lpwstr>Confidential</vt:lpwstr>
  </property>
  <property fmtid="{D5CDD505-2E9C-101B-9397-08002B2CF9AE}" pid="6" name="MSIP_Label_b0d5c4f4-7a29-4385-b7a5-afbe2154ae6f_SiteId">
    <vt:lpwstr>2dfb2f0b-4d21-4268-9559-72926144c918</vt:lpwstr>
  </property>
  <property fmtid="{D5CDD505-2E9C-101B-9397-08002B2CF9AE}" pid="7" name="MSIP_Label_b0d5c4f4-7a29-4385-b7a5-afbe2154ae6f_ActionId">
    <vt:lpwstr>489d8dcf-cfb1-4b91-a499-a8cf7f3c4a0e</vt:lpwstr>
  </property>
  <property fmtid="{D5CDD505-2E9C-101B-9397-08002B2CF9AE}" pid="8" name="MSIP_Label_b0d5c4f4-7a29-4385-b7a5-afbe2154ae6f_ContentBits">
    <vt:lpwstr>0</vt:lpwstr>
  </property>
  <property fmtid="{D5CDD505-2E9C-101B-9397-08002B2CF9AE}" pid="9" name="bcgClassification">
    <vt:lpwstr>bcgConfidential</vt:lpwstr>
  </property>
  <property fmtid="{D5CDD505-2E9C-101B-9397-08002B2CF9AE}" pid="10" name="ContentTypeId">
    <vt:lpwstr>0x0101004B6830B343BF064BA1D84EEE688E8D9F</vt:lpwstr>
  </property>
</Properties>
</file>